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  <p:sldMasterId id="2147483717" r:id="rId2"/>
    <p:sldMasterId id="2147483738" r:id="rId3"/>
    <p:sldMasterId id="2147483759" r:id="rId4"/>
  </p:sldMasterIdLst>
  <p:notesMasterIdLst>
    <p:notesMasterId r:id="rId19"/>
  </p:notesMasterIdLst>
  <p:sldIdLst>
    <p:sldId id="257" r:id="rId5"/>
    <p:sldId id="266" r:id="rId6"/>
    <p:sldId id="267" r:id="rId7"/>
    <p:sldId id="268" r:id="rId8"/>
    <p:sldId id="258" r:id="rId9"/>
    <p:sldId id="264" r:id="rId10"/>
    <p:sldId id="269" r:id="rId11"/>
    <p:sldId id="270" r:id="rId12"/>
    <p:sldId id="260" r:id="rId13"/>
    <p:sldId id="261" r:id="rId14"/>
    <p:sldId id="262" r:id="rId15"/>
    <p:sldId id="271" r:id="rId16"/>
    <p:sldId id="272" r:id="rId17"/>
    <p:sldId id="273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52817F-341F-4AD1-AB6D-F3A6A5E531AB}" type="datetimeFigureOut">
              <a:rPr lang="es-VE" smtClean="0"/>
              <a:t>28/10/2021</a:t>
            </a:fld>
            <a:endParaRPr lang="es-V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V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V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V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8F58BA-1F67-41DD-B368-3284077F3001}" type="slidenum">
              <a:rPr lang="es-VE" smtClean="0"/>
              <a:t>‹#›</a:t>
            </a:fld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3379452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4471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6260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818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809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9167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72572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9246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66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043FE6C-A8C7-4389-885C-119EE5B27EC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625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041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36260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938911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516247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749929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37713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2797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054091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526444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421587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67693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10132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61119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839623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4373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965056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52545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219358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5620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4908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785910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478487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985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6114989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941606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843288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84434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947243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9236916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924315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11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2972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7039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49689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549013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70142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009091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VE"/>
          </a:p>
        </p:txBody>
      </p:sp>
    </p:spTree>
    <p:extLst>
      <p:ext uri="{BB962C8B-B14F-4D97-AF65-F5344CB8AC3E}">
        <p14:creationId xmlns:p14="http://schemas.microsoft.com/office/powerpoint/2010/main" val="114841941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499996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34610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044062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41825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7929174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6660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199057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6"/>
            <a:ext cx="11184000" cy="9692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03543"/>
            <a:ext cx="11184000" cy="453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66700" indent="-266700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 smtClean="0"/>
              <a:t>©2015  Lara </a:t>
            </a:r>
            <a:r>
              <a:rPr lang="en-GB" dirty="0" err="1" smtClean="0"/>
              <a:t>Marambio</a:t>
            </a:r>
            <a:r>
              <a:rPr lang="en-GB" dirty="0" smtClean="0"/>
              <a:t> &amp; </a:t>
            </a:r>
            <a:r>
              <a:rPr lang="en-GB" dirty="0" err="1" smtClean="0"/>
              <a:t>Asociados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03953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519829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167156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610345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74317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" name="Rectangle 1"/>
          <p:cNvSpPr/>
          <p:nvPr/>
        </p:nvSpPr>
        <p:spPr bwMode="gray">
          <a:xfrm>
            <a:off x="10104438" y="0"/>
            <a:ext cx="2087562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17115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103571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553618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4742155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92502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0940513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1752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074559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889420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3603527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3192551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864481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137726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84634" y="1851441"/>
            <a:ext cx="293364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81229" y="1851441"/>
            <a:ext cx="2922371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718313" y="1851441"/>
            <a:ext cx="29146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584576" y="1705968"/>
            <a:ext cx="296147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1755" y="1705968"/>
            <a:ext cx="293253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714983" y="1705968"/>
            <a:ext cx="291769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5602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425429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25842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635376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74306855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75200" y="3240395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005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273700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293717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" Target="../slides/slide3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heme" Target="../theme/theme3.xml"/><Relationship Id="rId28" Type="http://schemas.openxmlformats.org/officeDocument/2006/relationships/slide" Target="../slides/slide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4.xml"/><Relationship Id="rId27" Type="http://schemas.openxmlformats.org/officeDocument/2006/relationships/slide" Target="../slides/slid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2016 </a:t>
            </a:r>
            <a:r>
              <a:rPr lang="fr-FR" sz="650" noProof="0" dirty="0" err="1">
                <a:solidFill>
                  <a:schemeClr val="tx1"/>
                </a:solidFill>
              </a:rPr>
              <a:t>ZAO</a:t>
            </a:r>
            <a:r>
              <a:rPr lang="fr-FR" sz="650" noProof="0" dirty="0">
                <a:solidFill>
                  <a:schemeClr val="tx1"/>
                </a:solidFill>
              </a:rPr>
              <a:t> Deloitte &amp; Touche CI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826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8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97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79">
          <p15:clr>
            <a:srgbClr val="A4A3A4"/>
          </p15:clr>
        </p15:guide>
        <p15:guide id="10" pos="1368">
          <p15:clr>
            <a:srgbClr val="A4A3A4"/>
          </p15:clr>
        </p15:guide>
        <p15:guide id="11" pos="1476">
          <p15:clr>
            <a:srgbClr val="A4A3A4"/>
          </p15:clr>
        </p15:guide>
        <p15:guide id="12" pos="2568">
          <p15:clr>
            <a:srgbClr val="A4A3A4"/>
          </p15:clr>
        </p15:guide>
        <p15:guide id="13" pos="2680">
          <p15:clr>
            <a:srgbClr val="A4A3A4"/>
          </p15:clr>
        </p15:guide>
        <p15:guide id="15" pos="3772">
          <p15:clr>
            <a:srgbClr val="A4A3A4"/>
          </p15:clr>
        </p15:guide>
        <p15:guide id="16" pos="3884">
          <p15:clr>
            <a:srgbClr val="A4A3A4"/>
          </p15:clr>
        </p15:guide>
        <p15:guide id="17" pos="3828">
          <p15:clr>
            <a:srgbClr val="A4A3A4"/>
          </p15:clr>
        </p15:guide>
        <p15:guide id="18" pos="618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  <p15:guide id="22" pos="629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 </a:t>
            </a:r>
            <a:r>
              <a:rPr lang="fr-FR" sz="650" noProof="0" dirty="0">
                <a:solidFill>
                  <a:schemeClr val="tx1"/>
                </a:solidFill>
              </a:rPr>
              <a:t>Deloitte 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 </a:t>
            </a:r>
            <a:r>
              <a:rPr lang="fr-FR" sz="65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eserved</a:t>
            </a:r>
            <a:endParaRPr lang="fr-FR" sz="650" noProof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47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9" action="ppaction://hlinksldjump"/>
          </p:cNvPr>
          <p:cNvSpPr>
            <a:spLocks noChangeAspect="1" noEditPoints="1"/>
          </p:cNvSpPr>
          <p:nvPr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770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82" r:id="rId21"/>
    <p:sldLayoutId id="2147483783" r:id="rId22"/>
    <p:sldLayoutId id="2147483710" r:id="rId23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 </a:t>
            </a:r>
            <a:r>
              <a:rPr lang="fr-FR" sz="650" noProof="0" dirty="0">
                <a:solidFill>
                  <a:schemeClr val="tx1"/>
                </a:solidFill>
              </a:rPr>
              <a:t>Deloitte 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 </a:t>
            </a:r>
            <a:r>
              <a:rPr lang="fr-FR" sz="65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noProof="0" dirty="0" smtClean="0">
                <a:solidFill>
                  <a:schemeClr val="tx1"/>
                </a:solidFill>
              </a:rPr>
              <a:t> </a:t>
            </a:r>
            <a:r>
              <a:rPr lang="fr-FR" sz="650" noProof="0" dirty="0" err="1" smtClean="0">
                <a:solidFill>
                  <a:schemeClr val="tx1"/>
                </a:solidFill>
              </a:rPr>
              <a:t>reserved</a:t>
            </a:r>
            <a:r>
              <a:rPr lang="fr-FR" sz="650" noProof="0" dirty="0" smtClean="0">
                <a:solidFill>
                  <a:schemeClr val="tx1"/>
                </a:solidFill>
              </a:rPr>
              <a:t>.</a:t>
            </a:r>
            <a:endParaRPr lang="fr-FR" sz="650" noProof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10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8" action="ppaction://hlinksldjump"/>
          </p:cNvPr>
          <p:cNvSpPr>
            <a:spLocks noChangeAspect="1" noEditPoints="1"/>
          </p:cNvSpPr>
          <p:nvPr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795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84" r:id="rId21"/>
    <p:sldLayoutId id="2147483785" r:id="rId2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 dirty="0">
                <a:solidFill>
                  <a:schemeClr val="tx1"/>
                </a:solidFill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</a:rPr>
              <a:t>2020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Deloitte </a:t>
            </a:r>
            <a:r>
              <a:rPr lang="fr-FR" sz="650" noProof="0" dirty="0">
                <a:solidFill>
                  <a:schemeClr val="tx1"/>
                </a:solidFill>
              </a:rPr>
              <a:t>Touche </a:t>
            </a:r>
            <a:r>
              <a:rPr lang="fr-FR" sz="650" noProof="0" dirty="0" err="1">
                <a:solidFill>
                  <a:schemeClr val="tx1"/>
                </a:solidFill>
              </a:rPr>
              <a:t>Tohmatsu</a:t>
            </a:r>
            <a:r>
              <a:rPr lang="fr-FR" sz="650" noProof="0" dirty="0">
                <a:solidFill>
                  <a:schemeClr val="tx1"/>
                </a:solidFill>
              </a:rPr>
              <a:t> </a:t>
            </a:r>
            <a:r>
              <a:rPr lang="fr-FR" sz="650" noProof="0" dirty="0" smtClean="0">
                <a:solidFill>
                  <a:schemeClr val="tx1"/>
                </a:solidFill>
              </a:rPr>
              <a:t>Limited. All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ights</a:t>
            </a:r>
            <a:r>
              <a:rPr lang="fr-FR" sz="650" baseline="0" noProof="0" dirty="0" smtClean="0">
                <a:solidFill>
                  <a:schemeClr val="tx1"/>
                </a:solidFill>
              </a:rPr>
              <a:t> </a:t>
            </a:r>
            <a:r>
              <a:rPr lang="fr-FR" sz="650" baseline="0" noProof="0" dirty="0" err="1" smtClean="0">
                <a:solidFill>
                  <a:schemeClr val="tx1"/>
                </a:solidFill>
              </a:rPr>
              <a:t>reserved</a:t>
            </a:r>
            <a:endParaRPr lang="fr-FR" sz="650" baseline="0" noProof="0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275095" y="6309311"/>
            <a:ext cx="172481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r>
              <a:rPr lang="en-US" sz="1100" noProof="0" dirty="0">
                <a:solidFill>
                  <a:schemeClr val="accent6"/>
                </a:solidFill>
              </a:rPr>
              <a:t>Slide </a:t>
            </a:r>
            <a:fld id="{C58DF478-B544-4ED8-9ED4-6A2648E2D233}" type="slidenum">
              <a:rPr lang="en-US" sz="1100" noProof="0" smtClean="0">
                <a:solidFill>
                  <a:schemeClr val="accent6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r>
              <a:rPr lang="en-US" sz="1100" noProof="0" dirty="0">
                <a:solidFill>
                  <a:schemeClr val="accent6"/>
                </a:solidFill>
              </a:rPr>
              <a:t> of </a:t>
            </a:r>
            <a:r>
              <a:rPr lang="en-US" sz="1100" noProof="0" dirty="0" smtClean="0">
                <a:solidFill>
                  <a:schemeClr val="accent6"/>
                </a:solidFill>
              </a:rPr>
              <a:t>47</a:t>
            </a:r>
            <a:endParaRPr lang="en-US" sz="1100" noProof="0" dirty="0">
              <a:solidFill>
                <a:schemeClr val="accent6"/>
              </a:solidFill>
            </a:endParaRPr>
          </a:p>
        </p:txBody>
      </p:sp>
      <p:sp>
        <p:nvSpPr>
          <p:cNvPr id="9" name="Freeform 314">
            <a:hlinkClick r:id="rId27" action="ppaction://hlinksldjump"/>
          </p:cNvPr>
          <p:cNvSpPr>
            <a:spLocks noChangeAspect="1" noEditPoints="1"/>
          </p:cNvSpPr>
          <p:nvPr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rgbClr val="BBBCB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33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6.png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Relationship Id="rId4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Relationship Id="rId4" Type="http://schemas.openxmlformats.org/officeDocument/2006/relationships/slide" Target="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4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5.png"/><Relationship Id="rId4" Type="http://schemas.openxmlformats.org/officeDocument/2006/relationships/slide" Target="slid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4.png"/><Relationship Id="rId4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4442" y="723383"/>
            <a:ext cx="5400000" cy="5400000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496233"/>
            <a:ext cx="5592011" cy="847488"/>
          </a:xfrm>
        </p:spPr>
        <p:txBody>
          <a:bodyPr/>
          <a:lstStyle/>
          <a:p>
            <a:r>
              <a:rPr lang="en-US" dirty="0" err="1" smtClean="0"/>
              <a:t>Propuesta</a:t>
            </a:r>
            <a:r>
              <a:rPr lang="en-US" dirty="0" smtClean="0"/>
              <a:t> de </a:t>
            </a:r>
            <a:r>
              <a:rPr lang="en-US" dirty="0" err="1" smtClean="0"/>
              <a:t>Consultoría</a:t>
            </a:r>
            <a:endParaRPr lang="en-US" dirty="0" smtClean="0"/>
          </a:p>
          <a:p>
            <a:r>
              <a:rPr lang="en-US" b="0" dirty="0" err="1" smtClean="0"/>
              <a:t>Implementación</a:t>
            </a:r>
            <a:r>
              <a:rPr lang="en-US" b="0" dirty="0" smtClean="0"/>
              <a:t> SAP Business One </a:t>
            </a:r>
            <a:endParaRPr lang="en-US" b="0" dirty="0"/>
          </a:p>
          <a:p>
            <a:pPr lvl="1"/>
            <a:r>
              <a:rPr lang="en-US" dirty="0" smtClean="0"/>
              <a:t>Johnson &amp; Johnson de Venezuela </a:t>
            </a:r>
            <a:r>
              <a:rPr lang="en-US" b="1" dirty="0" smtClean="0"/>
              <a:t>RIF. J-000530203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smtClean="0"/>
              <a:t>Julio, 2020</a:t>
            </a:r>
            <a:endParaRPr lang="en-US" noProof="0" dirty="0"/>
          </a:p>
        </p:txBody>
      </p:sp>
      <p:sp>
        <p:nvSpPr>
          <p:cNvPr id="10" name="Freeform 88">
            <a:hlinkClick r:id="" action="ppaction://hlinkshowjump?jump=nextslide"/>
          </p:cNvPr>
          <p:cNvSpPr>
            <a:spLocks noChangeAspect="1" noEditPoints="1"/>
          </p:cNvSpPr>
          <p:nvPr/>
        </p:nvSpPr>
        <p:spPr bwMode="auto">
          <a:xfrm>
            <a:off x="11379261" y="5920885"/>
            <a:ext cx="367041" cy="36704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192 w 512"/>
              <a:gd name="T11" fmla="*/ 416 h 512"/>
              <a:gd name="T12" fmla="*/ 184 w 512"/>
              <a:gd name="T13" fmla="*/ 413 h 512"/>
              <a:gd name="T14" fmla="*/ 184 w 512"/>
              <a:gd name="T15" fmla="*/ 397 h 512"/>
              <a:gd name="T16" fmla="*/ 326 w 512"/>
              <a:gd name="T17" fmla="*/ 256 h 512"/>
              <a:gd name="T18" fmla="*/ 184 w 512"/>
              <a:gd name="T19" fmla="*/ 114 h 512"/>
              <a:gd name="T20" fmla="*/ 184 w 512"/>
              <a:gd name="T21" fmla="*/ 99 h 512"/>
              <a:gd name="T22" fmla="*/ 199 w 512"/>
              <a:gd name="T23" fmla="*/ 99 h 512"/>
              <a:gd name="T24" fmla="*/ 349 w 512"/>
              <a:gd name="T25" fmla="*/ 248 h 512"/>
              <a:gd name="T26" fmla="*/ 349 w 512"/>
              <a:gd name="T27" fmla="*/ 263 h 512"/>
              <a:gd name="T28" fmla="*/ 199 w 512"/>
              <a:gd name="T29" fmla="*/ 413 h 512"/>
              <a:gd name="T30" fmla="*/ 192 w 512"/>
              <a:gd name="T31" fmla="*/ 41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192" y="416"/>
                </a:moveTo>
                <a:cubicBezTo>
                  <a:pt x="189" y="416"/>
                  <a:pt x="186" y="415"/>
                  <a:pt x="184" y="413"/>
                </a:cubicBezTo>
                <a:cubicBezTo>
                  <a:pt x="180" y="408"/>
                  <a:pt x="180" y="402"/>
                  <a:pt x="184" y="397"/>
                </a:cubicBezTo>
                <a:cubicBezTo>
                  <a:pt x="326" y="256"/>
                  <a:pt x="326" y="256"/>
                  <a:pt x="326" y="256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0" y="110"/>
                  <a:pt x="180" y="103"/>
                  <a:pt x="184" y="99"/>
                </a:cubicBezTo>
                <a:cubicBezTo>
                  <a:pt x="188" y="95"/>
                  <a:pt x="195" y="95"/>
                  <a:pt x="199" y="99"/>
                </a:cubicBezTo>
                <a:cubicBezTo>
                  <a:pt x="349" y="248"/>
                  <a:pt x="349" y="248"/>
                  <a:pt x="349" y="248"/>
                </a:cubicBezTo>
                <a:cubicBezTo>
                  <a:pt x="353" y="252"/>
                  <a:pt x="353" y="259"/>
                  <a:pt x="349" y="263"/>
                </a:cubicBezTo>
                <a:cubicBezTo>
                  <a:pt x="199" y="413"/>
                  <a:pt x="199" y="413"/>
                  <a:pt x="199" y="413"/>
                </a:cubicBezTo>
                <a:cubicBezTo>
                  <a:pt x="197" y="415"/>
                  <a:pt x="194" y="416"/>
                  <a:pt x="192" y="416"/>
                </a:cubicBezTo>
                <a:close/>
              </a:path>
            </a:pathLst>
          </a:custGeom>
          <a:solidFill>
            <a:srgbClr val="A7A8AA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21" b="39862"/>
          <a:stretch/>
        </p:blipFill>
        <p:spPr>
          <a:xfrm>
            <a:off x="9544977" y="337947"/>
            <a:ext cx="2451607" cy="5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53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449420"/>
            <a:ext cx="9163050" cy="4849782"/>
          </a:xfrm>
        </p:spPr>
        <p:txBody>
          <a:bodyPr/>
          <a:lstStyle/>
          <a:p>
            <a:pPr algn="just"/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Janssen </a:t>
            </a:r>
            <a:r>
              <a:rPr lang="en-US" sz="1400" b="1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ilag</a:t>
            </a:r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 C.A., </a:t>
            </a:r>
            <a:r>
              <a:rPr lang="es-VE" sz="1400" dirty="0" smtClean="0"/>
              <a:t>es </a:t>
            </a:r>
            <a:r>
              <a:rPr lang="es-VE" sz="1400" dirty="0"/>
              <a:t>una </a:t>
            </a:r>
            <a:r>
              <a:rPr lang="es-VE" sz="1400" dirty="0" smtClean="0"/>
              <a:t>compañía farmacéutica de Johnson &amp; Johnson. </a:t>
            </a:r>
            <a:r>
              <a:rPr lang="es-VE" sz="1400" dirty="0"/>
              <a:t>surge como resultado de la fusión de dos laboratorios: </a:t>
            </a:r>
            <a:r>
              <a:rPr lang="es-VE" sz="1400" b="1" dirty="0" err="1"/>
              <a:t>Janssen</a:t>
            </a:r>
            <a:r>
              <a:rPr lang="es-VE" sz="1400" b="1" dirty="0"/>
              <a:t> y </a:t>
            </a:r>
            <a:r>
              <a:rPr lang="es-VE" sz="1400" b="1" dirty="0" err="1" smtClean="0"/>
              <a:t>Cilag</a:t>
            </a:r>
            <a:r>
              <a:rPr lang="es-VE" sz="1400" dirty="0" smtClean="0"/>
              <a:t>, </a:t>
            </a:r>
            <a:r>
              <a:rPr lang="es-VE" sz="1400" dirty="0"/>
              <a:t>suceso que ha sido de gran relevancia en la industria farmacéutica debido a la visión compartida de emplear nuevas tecnologías en la creación de nuevos tratamientos.</a:t>
            </a:r>
            <a:r>
              <a:rPr lang="es-VE" sz="1400" dirty="0" smtClean="0"/>
              <a:t> Hasta el día de hoy, han descubierto </a:t>
            </a:r>
            <a:r>
              <a:rPr lang="es-VE" sz="1400" dirty="0"/>
              <a:t>más de 80 medicamentos, de los cuales cuatro forman parte de la lista de medicamentos esenciales de la Organización Mundial de la Salud (OMS</a:t>
            </a:r>
            <a:r>
              <a:rPr lang="es-VE" sz="1400" dirty="0" smtClean="0"/>
              <a:t>).</a:t>
            </a:r>
          </a:p>
          <a:p>
            <a:pPr algn="just"/>
            <a:endParaRPr lang="es-VE" sz="1400" dirty="0" smtClean="0"/>
          </a:p>
          <a:p>
            <a:pPr algn="just"/>
            <a:r>
              <a:rPr lang="es-VE" sz="1400" b="1" dirty="0" smtClean="0">
                <a:solidFill>
                  <a:srgbClr val="86BC25"/>
                </a:solidFill>
              </a:rPr>
              <a:t>OBJETIVO</a:t>
            </a:r>
          </a:p>
          <a:p>
            <a:pPr algn="just"/>
            <a:r>
              <a:rPr lang="es-VE" sz="1400" dirty="0" smtClean="0"/>
              <a:t>Asociarse directamente </a:t>
            </a:r>
            <a:r>
              <a:rPr lang="es-VE" sz="1400" dirty="0"/>
              <a:t>con pacientes y cuidadores a medida que </a:t>
            </a:r>
            <a:r>
              <a:rPr lang="es-VE" sz="1400" dirty="0" smtClean="0"/>
              <a:t>desarrollan </a:t>
            </a:r>
            <a:r>
              <a:rPr lang="es-VE" sz="1400" dirty="0"/>
              <a:t>medicamentos, </a:t>
            </a:r>
            <a:r>
              <a:rPr lang="es-VE" sz="1400" dirty="0" smtClean="0"/>
              <a:t>se mejoran </a:t>
            </a:r>
            <a:r>
              <a:rPr lang="es-VE" sz="1400" dirty="0"/>
              <a:t>los ensayos clínicos y </a:t>
            </a:r>
            <a:r>
              <a:rPr lang="es-VE" sz="1400" dirty="0" smtClean="0"/>
              <a:t>crean </a:t>
            </a:r>
            <a:r>
              <a:rPr lang="es-VE" sz="1400" dirty="0"/>
              <a:t>materiales educativos y programas de </a:t>
            </a:r>
            <a:r>
              <a:rPr lang="es-VE" sz="1400" dirty="0" smtClean="0"/>
              <a:t>apoyo.</a:t>
            </a:r>
          </a:p>
          <a:p>
            <a:pPr algn="just"/>
            <a:r>
              <a:rPr lang="es-VE" sz="1400" dirty="0" smtClean="0"/>
              <a:t>Resolver </a:t>
            </a:r>
            <a:r>
              <a:rPr lang="es-VE" sz="1400" dirty="0"/>
              <a:t>desafíos complejos de salud global al aprovechar los recursos y la experiencia de </a:t>
            </a:r>
            <a:r>
              <a:rPr lang="es-VE" sz="1400" dirty="0" err="1"/>
              <a:t>Janssen</a:t>
            </a:r>
            <a:r>
              <a:rPr lang="es-VE" sz="1400" dirty="0"/>
              <a:t> y de Johnson &amp; Johnson.</a:t>
            </a:r>
            <a:endParaRPr lang="es-VE" sz="1400" dirty="0" smtClean="0"/>
          </a:p>
          <a:p>
            <a:pPr algn="just"/>
            <a:endParaRPr lang="es-VE" sz="1400" dirty="0" smtClean="0"/>
          </a:p>
          <a:p>
            <a:pPr algn="just"/>
            <a:r>
              <a:rPr lang="es-VE" sz="1400" b="1" dirty="0" smtClean="0">
                <a:solidFill>
                  <a:srgbClr val="86BC25"/>
                </a:solidFill>
              </a:rPr>
              <a:t>EQUIPO</a:t>
            </a:r>
            <a:endParaRPr lang="es-VE" sz="1400" dirty="0" smtClean="0">
              <a:solidFill>
                <a:srgbClr val="86BC25"/>
              </a:solidFill>
            </a:endParaRPr>
          </a:p>
          <a:p>
            <a:pPr algn="just"/>
            <a:r>
              <a:rPr lang="es-VE" sz="1400" dirty="0" err="1"/>
              <a:t>Janssen</a:t>
            </a:r>
            <a:r>
              <a:rPr lang="es-VE" sz="1400" dirty="0"/>
              <a:t> es una compañía idónea para afrontar los nuevos retos planteados en el mundo de la salud. Mediante equipos plenamente calificados y los medios que brinda la última generación tecnológica, es la empresa llamada a seguir aportando medicamentos avanzados y eficaces frente a las enfermedades de mayor impacto social.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736689"/>
            <a:ext cx="6715990" cy="378628"/>
          </a:xfrm>
        </p:spPr>
        <p:txBody>
          <a:bodyPr/>
          <a:lstStyle/>
          <a:p>
            <a:r>
              <a:rPr lang="en-US" sz="1800" dirty="0" smtClean="0"/>
              <a:t>Janssen </a:t>
            </a:r>
            <a:r>
              <a:rPr lang="en-US" sz="1800" dirty="0" err="1" smtClean="0"/>
              <a:t>Cilag</a:t>
            </a:r>
            <a:r>
              <a:rPr lang="en-US" sz="1800" dirty="0" smtClean="0"/>
              <a:t> C.A.</a:t>
            </a:r>
            <a:endParaRPr lang="en-US" sz="1800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ecedentes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22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6854" y="402586"/>
            <a:ext cx="3206097" cy="709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57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estro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endimiento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 Placeholder 24"/>
          <p:cNvSpPr txBox="1">
            <a:spLocks/>
          </p:cNvSpPr>
          <p:nvPr/>
        </p:nvSpPr>
        <p:spPr>
          <a:xfrm>
            <a:off x="469900" y="1036958"/>
            <a:ext cx="9514071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VE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 </a:t>
            </a:r>
            <a:r>
              <a:rPr lang="es-V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fin de apalancar el rápido crecimiento  del negocio, manteniendo la alta calidad en sus productos, </a:t>
            </a:r>
            <a:r>
              <a:rPr lang="en-US" sz="1400" b="1" dirty="0"/>
              <a:t>Johnson &amp; Johnson de </a:t>
            </a:r>
            <a:r>
              <a:rPr lang="en-US" sz="1400" b="1" dirty="0" smtClean="0"/>
              <a:t>Venezuela y Janssen </a:t>
            </a:r>
            <a:r>
              <a:rPr lang="en-US" sz="1400" b="1" dirty="0" err="1" smtClean="0"/>
              <a:t>Cilag</a:t>
            </a:r>
            <a:r>
              <a:rPr lang="en-US" sz="1400" b="1" dirty="0" smtClean="0"/>
              <a:t> C.A.</a:t>
            </a:r>
            <a:r>
              <a:rPr lang="es-VE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V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ha propuesto la implementación de un sistema </a:t>
            </a:r>
            <a:r>
              <a:rPr lang="es-VE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P </a:t>
            </a:r>
            <a:r>
              <a:rPr lang="es-VE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 facilite el logro de sus objetivos estratégicos.</a:t>
            </a:r>
          </a:p>
          <a:p>
            <a:endParaRPr lang="en-US" dirty="0">
              <a:solidFill>
                <a:schemeClr val="bg2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rapezoid 2"/>
          <p:cNvSpPr/>
          <p:nvPr/>
        </p:nvSpPr>
        <p:spPr bwMode="gray">
          <a:xfrm rot="5400000">
            <a:off x="5304456" y="3363545"/>
            <a:ext cx="4196302" cy="1658176"/>
          </a:xfrm>
          <a:custGeom>
            <a:avLst/>
            <a:gdLst>
              <a:gd name="connsiteX0" fmla="*/ 0 w 2873830"/>
              <a:gd name="connsiteY0" fmla="*/ 682217 h 682217"/>
              <a:gd name="connsiteX1" fmla="*/ 527906 w 2873830"/>
              <a:gd name="connsiteY1" fmla="*/ 0 h 682217"/>
              <a:gd name="connsiteX2" fmla="*/ 2345924 w 2873830"/>
              <a:gd name="connsiteY2" fmla="*/ 0 h 682217"/>
              <a:gd name="connsiteX3" fmla="*/ 2873830 w 2873830"/>
              <a:gd name="connsiteY3" fmla="*/ 682217 h 682217"/>
              <a:gd name="connsiteX4" fmla="*/ 0 w 2873830"/>
              <a:gd name="connsiteY4" fmla="*/ 682217 h 682217"/>
              <a:gd name="connsiteX0" fmla="*/ 0 w 2510973"/>
              <a:gd name="connsiteY0" fmla="*/ 696731 h 696731"/>
              <a:gd name="connsiteX1" fmla="*/ 165049 w 2510973"/>
              <a:gd name="connsiteY1" fmla="*/ 0 h 696731"/>
              <a:gd name="connsiteX2" fmla="*/ 1983067 w 2510973"/>
              <a:gd name="connsiteY2" fmla="*/ 0 h 696731"/>
              <a:gd name="connsiteX3" fmla="*/ 2510973 w 2510973"/>
              <a:gd name="connsiteY3" fmla="*/ 682217 h 696731"/>
              <a:gd name="connsiteX4" fmla="*/ 0 w 2510973"/>
              <a:gd name="connsiteY4" fmla="*/ 696731 h 696731"/>
              <a:gd name="connsiteX0" fmla="*/ 0 w 8316687"/>
              <a:gd name="connsiteY0" fmla="*/ 696731 h 696731"/>
              <a:gd name="connsiteX1" fmla="*/ 165049 w 8316687"/>
              <a:gd name="connsiteY1" fmla="*/ 0 h 696731"/>
              <a:gd name="connsiteX2" fmla="*/ 1983067 w 8316687"/>
              <a:gd name="connsiteY2" fmla="*/ 0 h 696731"/>
              <a:gd name="connsiteX3" fmla="*/ 8316687 w 8316687"/>
              <a:gd name="connsiteY3" fmla="*/ 667703 h 696731"/>
              <a:gd name="connsiteX4" fmla="*/ 0 w 8316687"/>
              <a:gd name="connsiteY4" fmla="*/ 696731 h 696731"/>
              <a:gd name="connsiteX0" fmla="*/ 0 w 8333940"/>
              <a:gd name="connsiteY0" fmla="*/ 685229 h 685229"/>
              <a:gd name="connsiteX1" fmla="*/ 182302 w 8333940"/>
              <a:gd name="connsiteY1" fmla="*/ 0 h 685229"/>
              <a:gd name="connsiteX2" fmla="*/ 2000320 w 8333940"/>
              <a:gd name="connsiteY2" fmla="*/ 0 h 685229"/>
              <a:gd name="connsiteX3" fmla="*/ 8333940 w 8333940"/>
              <a:gd name="connsiteY3" fmla="*/ 667703 h 685229"/>
              <a:gd name="connsiteX4" fmla="*/ 0 w 8333940"/>
              <a:gd name="connsiteY4" fmla="*/ 685229 h 685229"/>
              <a:gd name="connsiteX0" fmla="*/ 0 w 8333940"/>
              <a:gd name="connsiteY0" fmla="*/ 673727 h 673727"/>
              <a:gd name="connsiteX1" fmla="*/ 182302 w 8333940"/>
              <a:gd name="connsiteY1" fmla="*/ 0 h 673727"/>
              <a:gd name="connsiteX2" fmla="*/ 2000320 w 8333940"/>
              <a:gd name="connsiteY2" fmla="*/ 0 h 673727"/>
              <a:gd name="connsiteX3" fmla="*/ 8333940 w 8333940"/>
              <a:gd name="connsiteY3" fmla="*/ 667703 h 673727"/>
              <a:gd name="connsiteX4" fmla="*/ 0 w 8333940"/>
              <a:gd name="connsiteY4" fmla="*/ 673727 h 673727"/>
              <a:gd name="connsiteX0" fmla="*/ 0 w 8333940"/>
              <a:gd name="connsiteY0" fmla="*/ 683250 h 683250"/>
              <a:gd name="connsiteX1" fmla="*/ 182302 w 8333940"/>
              <a:gd name="connsiteY1" fmla="*/ 9523 h 683250"/>
              <a:gd name="connsiteX2" fmla="*/ 2784397 w 8333940"/>
              <a:gd name="connsiteY2" fmla="*/ 0 h 683250"/>
              <a:gd name="connsiteX3" fmla="*/ 8333940 w 8333940"/>
              <a:gd name="connsiteY3" fmla="*/ 677226 h 683250"/>
              <a:gd name="connsiteX4" fmla="*/ 0 w 8333940"/>
              <a:gd name="connsiteY4" fmla="*/ 683250 h 683250"/>
              <a:gd name="connsiteX0" fmla="*/ 0 w 8306903"/>
              <a:gd name="connsiteY0" fmla="*/ 683250 h 2029776"/>
              <a:gd name="connsiteX1" fmla="*/ 182302 w 8306903"/>
              <a:gd name="connsiteY1" fmla="*/ 9523 h 2029776"/>
              <a:gd name="connsiteX2" fmla="*/ 2784397 w 8306903"/>
              <a:gd name="connsiteY2" fmla="*/ 0 h 2029776"/>
              <a:gd name="connsiteX3" fmla="*/ 8306903 w 8306903"/>
              <a:gd name="connsiteY3" fmla="*/ 2029776 h 2029776"/>
              <a:gd name="connsiteX4" fmla="*/ 0 w 8306903"/>
              <a:gd name="connsiteY4" fmla="*/ 683250 h 2029776"/>
              <a:gd name="connsiteX0" fmla="*/ -1 w 13254743"/>
              <a:gd name="connsiteY0" fmla="*/ 2016752 h 2029776"/>
              <a:gd name="connsiteX1" fmla="*/ 5130142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2 h 2029776"/>
              <a:gd name="connsiteX1" fmla="*/ 5184216 w 13254743"/>
              <a:gd name="connsiteY1" fmla="*/ 9523 h 2029776"/>
              <a:gd name="connsiteX2" fmla="*/ 7732237 w 13254743"/>
              <a:gd name="connsiteY2" fmla="*/ 0 h 2029776"/>
              <a:gd name="connsiteX3" fmla="*/ 13254743 w 13254743"/>
              <a:gd name="connsiteY3" fmla="*/ 2029776 h 2029776"/>
              <a:gd name="connsiteX4" fmla="*/ -1 w 13254743"/>
              <a:gd name="connsiteY4" fmla="*/ 2016752 h 2029776"/>
              <a:gd name="connsiteX0" fmla="*/ -1 w 13254743"/>
              <a:gd name="connsiteY0" fmla="*/ 2016754 h 2029778"/>
              <a:gd name="connsiteX1" fmla="*/ 5382200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32237 w 13254743"/>
              <a:gd name="connsiteY2" fmla="*/ 2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16754 h 2029778"/>
              <a:gd name="connsiteX1" fmla="*/ 5382193 w 13254743"/>
              <a:gd name="connsiteY1" fmla="*/ 0 h 2029778"/>
              <a:gd name="connsiteX2" fmla="*/ 7781727 w 13254743"/>
              <a:gd name="connsiteY2" fmla="*/ 4 h 2029778"/>
              <a:gd name="connsiteX3" fmla="*/ 13254743 w 13254743"/>
              <a:gd name="connsiteY3" fmla="*/ 2029778 h 2029778"/>
              <a:gd name="connsiteX4" fmla="*/ -1 w 13254743"/>
              <a:gd name="connsiteY4" fmla="*/ 2016754 h 2029778"/>
              <a:gd name="connsiteX0" fmla="*/ -1 w 13254743"/>
              <a:gd name="connsiteY0" fmla="*/ 2020039 h 2033063"/>
              <a:gd name="connsiteX1" fmla="*/ 5435639 w 13254743"/>
              <a:gd name="connsiteY1" fmla="*/ 0 h 2033063"/>
              <a:gd name="connsiteX2" fmla="*/ 7781727 w 13254743"/>
              <a:gd name="connsiteY2" fmla="*/ 3289 h 2033063"/>
              <a:gd name="connsiteX3" fmla="*/ 13254743 w 13254743"/>
              <a:gd name="connsiteY3" fmla="*/ 2033063 h 2033063"/>
              <a:gd name="connsiteX4" fmla="*/ -1 w 13254743"/>
              <a:gd name="connsiteY4" fmla="*/ 2020039 h 2033063"/>
              <a:gd name="connsiteX0" fmla="*/ -1 w 13254743"/>
              <a:gd name="connsiteY0" fmla="*/ 2016750 h 2029774"/>
              <a:gd name="connsiteX1" fmla="*/ 5417815 w 13254743"/>
              <a:gd name="connsiteY1" fmla="*/ 16420 h 2029774"/>
              <a:gd name="connsiteX2" fmla="*/ 7781727 w 13254743"/>
              <a:gd name="connsiteY2" fmla="*/ 0 h 2029774"/>
              <a:gd name="connsiteX3" fmla="*/ 13254743 w 13254743"/>
              <a:gd name="connsiteY3" fmla="*/ 2029774 h 2029774"/>
              <a:gd name="connsiteX4" fmla="*/ -1 w 13254743"/>
              <a:gd name="connsiteY4" fmla="*/ 2016750 h 2029774"/>
              <a:gd name="connsiteX0" fmla="*/ -1 w 13254743"/>
              <a:gd name="connsiteY0" fmla="*/ 2003609 h 2016633"/>
              <a:gd name="connsiteX1" fmla="*/ 5417815 w 13254743"/>
              <a:gd name="connsiteY1" fmla="*/ 3279 h 2016633"/>
              <a:gd name="connsiteX2" fmla="*/ 7826267 w 13254743"/>
              <a:gd name="connsiteY2" fmla="*/ 0 h 2016633"/>
              <a:gd name="connsiteX3" fmla="*/ 13254743 w 13254743"/>
              <a:gd name="connsiteY3" fmla="*/ 2016633 h 2016633"/>
              <a:gd name="connsiteX4" fmla="*/ -1 w 13254743"/>
              <a:gd name="connsiteY4" fmla="*/ 2003609 h 2016633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835179 w 13254743"/>
              <a:gd name="connsiteY2" fmla="*/ 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2000330 h 2013354"/>
              <a:gd name="connsiteX1" fmla="*/ 5417815 w 13254743"/>
              <a:gd name="connsiteY1" fmla="*/ 0 h 2013354"/>
              <a:gd name="connsiteX2" fmla="*/ 7913692 w 13254743"/>
              <a:gd name="connsiteY2" fmla="*/ 4876 h 2013354"/>
              <a:gd name="connsiteX3" fmla="*/ 13254743 w 13254743"/>
              <a:gd name="connsiteY3" fmla="*/ 2013354 h 2013354"/>
              <a:gd name="connsiteX4" fmla="*/ -1 w 13254743"/>
              <a:gd name="connsiteY4" fmla="*/ 2000330 h 2013354"/>
              <a:gd name="connsiteX0" fmla="*/ -1 w 13254743"/>
              <a:gd name="connsiteY0" fmla="*/ 1995454 h 2008478"/>
              <a:gd name="connsiteX1" fmla="*/ 5315735 w 13254743"/>
              <a:gd name="connsiteY1" fmla="*/ 2425 h 2008478"/>
              <a:gd name="connsiteX2" fmla="*/ 7913692 w 13254743"/>
              <a:gd name="connsiteY2" fmla="*/ 0 h 2008478"/>
              <a:gd name="connsiteX3" fmla="*/ 13254743 w 13254743"/>
              <a:gd name="connsiteY3" fmla="*/ 2008478 h 2008478"/>
              <a:gd name="connsiteX4" fmla="*/ -1 w 13254743"/>
              <a:gd name="connsiteY4" fmla="*/ 1995454 h 200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54743" h="2008478">
                <a:moveTo>
                  <a:pt x="-1" y="1995454"/>
                </a:moveTo>
                <a:lnTo>
                  <a:pt x="5315735" y="2425"/>
                </a:lnTo>
                <a:lnTo>
                  <a:pt x="7913692" y="0"/>
                </a:lnTo>
                <a:lnTo>
                  <a:pt x="13254743" y="2008478"/>
                </a:lnTo>
                <a:lnTo>
                  <a:pt x="-1" y="199545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28000">
                <a:srgbClr val="8C8C8C">
                  <a:tint val="44500"/>
                  <a:satMod val="160000"/>
                </a:srgbClr>
              </a:gs>
              <a:gs pos="100000">
                <a:srgbClr val="86BC25"/>
              </a:gs>
            </a:gsLst>
            <a:lin ang="54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vert="eaVert"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8253412" y="3726426"/>
            <a:ext cx="1828800" cy="80044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+mj-lt"/>
              </a:rPr>
              <a:t>CREACIÓN DE VALOR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uLnTx/>
              <a:uFillTx/>
              <a:latin typeface="+mj-lt"/>
            </a:endParaRPr>
          </a:p>
        </p:txBody>
      </p:sp>
      <p:sp>
        <p:nvSpPr>
          <p:cNvPr id="22" name="SHP_229"/>
          <p:cNvSpPr txBox="1">
            <a:spLocks/>
          </p:cNvSpPr>
          <p:nvPr/>
        </p:nvSpPr>
        <p:spPr bwMode="gray">
          <a:xfrm>
            <a:off x="469900" y="1964146"/>
            <a:ext cx="6000173" cy="46634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cimiento </a:t>
            </a:r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table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gr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 posicionamiento competitivo, a través de estrategias de vanguardia que consigan la diferenciación respecto a sus competidores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lic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es gerenciales enfocadas en el crecimiento, liderazgo y confianza del equipo humano, las cuales estén vinculadas en la concepción y ejecución de las estrategias de negocio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rti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sistemas de tecnología de punta, que posibilite una gestión cada vez más 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iciente. </a:t>
            </a:r>
          </a:p>
          <a:p>
            <a:endParaRPr lang="es-VE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celencia operacional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171450" indent="-171450">
              <a:buFontTx/>
              <a:buChar char="-"/>
            </a:pP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olar  su proceso de  administración, 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ras y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ercialización.</a:t>
            </a:r>
            <a:endParaRPr lang="es-VE" sz="11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ministr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ecuadamente sus inventarios y almacenes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m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pedidos de clientes a través de herramientas 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ectrónicas. 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ej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 amplio  rango de indicadores de desempeño de sus modelos 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vos.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ponde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ortunamente a los requerimientos de importación, producción  y comercialización de sus </a:t>
            </a: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os.</a:t>
            </a:r>
          </a:p>
          <a:p>
            <a:endParaRPr lang="es-VE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novación </a:t>
            </a:r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 Calidad de </a:t>
            </a:r>
            <a:r>
              <a:rPr lang="es-VE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os</a:t>
            </a: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arroll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a cadena de valor optima que permita brindar un servicio de calidad a sus clientes. </a:t>
            </a:r>
            <a:endParaRPr lang="es-VE" sz="11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andir 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 ecosistema de clientes nacionales</a:t>
            </a:r>
            <a:endParaRPr lang="es-VE" sz="11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Tx/>
              <a:buChar char="-"/>
            </a:pPr>
            <a:r>
              <a:rPr lang="es-VE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zar </a:t>
            </a:r>
            <a:r>
              <a:rPr lang="es-VE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a toma de decisión oportuna, a través de indicadores de gestión (reportes dentro del sistema) que permitan medir los procesos diarios de la organización.</a:t>
            </a:r>
            <a:endParaRPr lang="es-VE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55176" y="3865615"/>
            <a:ext cx="129997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s-VE" sz="1200" b="1" dirty="0" smtClean="0">
                <a:solidFill>
                  <a:srgbClr val="313131"/>
                </a:solidFill>
              </a:rPr>
              <a:t>Para los accionistas y colaboradores</a:t>
            </a:r>
          </a:p>
        </p:txBody>
      </p:sp>
      <p:sp>
        <p:nvSpPr>
          <p:cNvPr id="20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23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428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7675553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5915099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4000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6528120" y="2090251"/>
            <a:ext cx="2112291" cy="1982635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2634801" y="1840230"/>
            <a:ext cx="2241396" cy="2241396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4689562" y="3199234"/>
            <a:ext cx="1957093" cy="1956119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271542" y="2837821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 err="1">
                <a:solidFill>
                  <a:prstClr val="white"/>
                </a:solidFill>
                <a:latin typeface="Verdana"/>
              </a:rPr>
              <a:t>Introducción</a:t>
            </a:r>
            <a:endParaRPr lang="en-US" sz="16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705984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3195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5396503" y="3684855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Visión General del Proyect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795158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324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7228631" y="2899323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 err="1">
                <a:solidFill>
                  <a:prstClr val="white"/>
                </a:solidFill>
                <a:latin typeface="Verdana"/>
              </a:rPr>
              <a:t>Entendimiento</a:t>
            </a:r>
            <a:r>
              <a:rPr lang="en-US" sz="1400" dirty="0">
                <a:solidFill>
                  <a:prstClr val="white"/>
                </a:solidFill>
                <a:latin typeface="Verdana"/>
              </a:rPr>
              <a:t> </a:t>
            </a:r>
          </a:p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del </a:t>
            </a:r>
            <a:r>
              <a:rPr lang="en-US" sz="1600" dirty="0" err="1">
                <a:solidFill>
                  <a:prstClr val="white"/>
                </a:solidFill>
                <a:latin typeface="Verdana"/>
              </a:rPr>
              <a:t>Negocio</a:t>
            </a:r>
            <a:endParaRPr lang="en-US" sz="9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596806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7144257" y="2521724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8200125" y="3549259"/>
            <a:ext cx="1769877" cy="1768998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err="1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27619" y="4230847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  <a:latin typeface="Verdana"/>
              </a:rPr>
              <a:t>Próximos</a:t>
            </a:r>
            <a:r>
              <a:rPr lang="en-US" sz="1600" dirty="0">
                <a:solidFill>
                  <a:schemeClr val="bg1"/>
                </a:solidFill>
                <a:latin typeface="Verdana"/>
              </a:rPr>
              <a:t> </a:t>
            </a:r>
            <a:r>
              <a:rPr lang="en-US" sz="1600" dirty="0" err="1">
                <a:solidFill>
                  <a:schemeClr val="bg1"/>
                </a:solidFill>
                <a:latin typeface="Verdana"/>
              </a:rPr>
              <a:t>Pasos</a:t>
            </a:r>
            <a:endParaRPr lang="en-US" sz="1600" dirty="0">
              <a:solidFill>
                <a:schemeClr val="bg1"/>
              </a:solidFill>
              <a:latin typeface="Verdana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200125" y="38340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Verdana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8736179" y="3892499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1910536" y="364217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Footer Placeholder 4"/>
          <p:cNvSpPr txBox="1">
            <a:spLocks/>
          </p:cNvSpPr>
          <p:nvPr/>
        </p:nvSpPr>
        <p:spPr>
          <a:xfrm>
            <a:off x="1894114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5363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 txBox="1">
            <a:spLocks/>
          </p:cNvSpPr>
          <p:nvPr/>
        </p:nvSpPr>
        <p:spPr bwMode="auto">
          <a:xfrm>
            <a:off x="1786525" y="258267"/>
            <a:ext cx="8674961" cy="506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s-UY" altLang="es-VE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Pasos</a:t>
            </a:r>
            <a:endParaRPr lang="en-US" altLang="es-VE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4258" y="996738"/>
            <a:ext cx="9072500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s-VE" sz="1900" dirty="0">
                <a:latin typeface="Verdad"/>
              </a:rPr>
              <a:t>El plan de implementación de SAP B1 en </a:t>
            </a:r>
            <a:r>
              <a:rPr lang="es-VE" sz="1900" dirty="0" smtClean="0">
                <a:latin typeface="Verdad"/>
              </a:rPr>
              <a:t>Grupo </a:t>
            </a:r>
            <a:r>
              <a:rPr lang="es-VE" sz="1900" dirty="0" smtClean="0">
                <a:latin typeface="Verdad"/>
              </a:rPr>
              <a:t>Johnson </a:t>
            </a:r>
            <a:r>
              <a:rPr lang="es-VE" sz="1900" dirty="0">
                <a:latin typeface="Verdad"/>
              </a:rPr>
              <a:t>&amp; Johnson ., </a:t>
            </a:r>
            <a:r>
              <a:rPr lang="es-VE" sz="1900" dirty="0">
                <a:latin typeface="Verdad"/>
              </a:rPr>
              <a:t>se ejecutará así: </a:t>
            </a:r>
          </a:p>
        </p:txBody>
      </p:sp>
      <p:sp>
        <p:nvSpPr>
          <p:cNvPr id="4" name="Snip Same Side Corner Rectangle 3"/>
          <p:cNvSpPr/>
          <p:nvPr/>
        </p:nvSpPr>
        <p:spPr>
          <a:xfrm rot="10800000">
            <a:off x="1244200" y="1637198"/>
            <a:ext cx="8158205" cy="565989"/>
          </a:xfrm>
          <a:custGeom>
            <a:avLst/>
            <a:gdLst>
              <a:gd name="connsiteX0" fmla="*/ 103298 w 8340745"/>
              <a:gd name="connsiteY0" fmla="*/ 0 h 619778"/>
              <a:gd name="connsiteX1" fmla="*/ 8237447 w 8340745"/>
              <a:gd name="connsiteY1" fmla="*/ 0 h 619778"/>
              <a:gd name="connsiteX2" fmla="*/ 8340745 w 8340745"/>
              <a:gd name="connsiteY2" fmla="*/ 103298 h 619778"/>
              <a:gd name="connsiteX3" fmla="*/ 8340745 w 8340745"/>
              <a:gd name="connsiteY3" fmla="*/ 619778 h 619778"/>
              <a:gd name="connsiteX4" fmla="*/ 8340745 w 8340745"/>
              <a:gd name="connsiteY4" fmla="*/ 619778 h 619778"/>
              <a:gd name="connsiteX5" fmla="*/ 0 w 8340745"/>
              <a:gd name="connsiteY5" fmla="*/ 619778 h 619778"/>
              <a:gd name="connsiteX6" fmla="*/ 0 w 8340745"/>
              <a:gd name="connsiteY6" fmla="*/ 619778 h 619778"/>
              <a:gd name="connsiteX7" fmla="*/ 0 w 8340745"/>
              <a:gd name="connsiteY7" fmla="*/ 103298 h 619778"/>
              <a:gd name="connsiteX8" fmla="*/ 103298 w 8340745"/>
              <a:gd name="connsiteY8" fmla="*/ 0 h 619778"/>
              <a:gd name="connsiteX0" fmla="*/ 103298 w 8340745"/>
              <a:gd name="connsiteY0" fmla="*/ 13447 h 633225"/>
              <a:gd name="connsiteX1" fmla="*/ 5642165 w 8340745"/>
              <a:gd name="connsiteY1" fmla="*/ 0 h 633225"/>
              <a:gd name="connsiteX2" fmla="*/ 8340745 w 8340745"/>
              <a:gd name="connsiteY2" fmla="*/ 116745 h 633225"/>
              <a:gd name="connsiteX3" fmla="*/ 8340745 w 8340745"/>
              <a:gd name="connsiteY3" fmla="*/ 633225 h 633225"/>
              <a:gd name="connsiteX4" fmla="*/ 8340745 w 8340745"/>
              <a:gd name="connsiteY4" fmla="*/ 633225 h 633225"/>
              <a:gd name="connsiteX5" fmla="*/ 0 w 8340745"/>
              <a:gd name="connsiteY5" fmla="*/ 633225 h 633225"/>
              <a:gd name="connsiteX6" fmla="*/ 0 w 8340745"/>
              <a:gd name="connsiteY6" fmla="*/ 633225 h 633225"/>
              <a:gd name="connsiteX7" fmla="*/ 0 w 8340745"/>
              <a:gd name="connsiteY7" fmla="*/ 116745 h 633225"/>
              <a:gd name="connsiteX8" fmla="*/ 103298 w 8340745"/>
              <a:gd name="connsiteY8" fmla="*/ 13447 h 633225"/>
              <a:gd name="connsiteX0" fmla="*/ 3774345 w 8340745"/>
              <a:gd name="connsiteY0" fmla="*/ 0 h 633225"/>
              <a:gd name="connsiteX1" fmla="*/ 5642165 w 8340745"/>
              <a:gd name="connsiteY1" fmla="*/ 0 h 633225"/>
              <a:gd name="connsiteX2" fmla="*/ 8340745 w 8340745"/>
              <a:gd name="connsiteY2" fmla="*/ 116745 h 633225"/>
              <a:gd name="connsiteX3" fmla="*/ 8340745 w 8340745"/>
              <a:gd name="connsiteY3" fmla="*/ 633225 h 633225"/>
              <a:gd name="connsiteX4" fmla="*/ 8340745 w 8340745"/>
              <a:gd name="connsiteY4" fmla="*/ 633225 h 633225"/>
              <a:gd name="connsiteX5" fmla="*/ 0 w 8340745"/>
              <a:gd name="connsiteY5" fmla="*/ 633225 h 633225"/>
              <a:gd name="connsiteX6" fmla="*/ 0 w 8340745"/>
              <a:gd name="connsiteY6" fmla="*/ 633225 h 633225"/>
              <a:gd name="connsiteX7" fmla="*/ 0 w 8340745"/>
              <a:gd name="connsiteY7" fmla="*/ 116745 h 633225"/>
              <a:gd name="connsiteX8" fmla="*/ 3774345 w 8340745"/>
              <a:gd name="connsiteY8" fmla="*/ 0 h 633225"/>
              <a:gd name="connsiteX0" fmla="*/ 3801239 w 8367639"/>
              <a:gd name="connsiteY0" fmla="*/ 0 h 633225"/>
              <a:gd name="connsiteX1" fmla="*/ 5669059 w 8367639"/>
              <a:gd name="connsiteY1" fmla="*/ 0 h 633225"/>
              <a:gd name="connsiteX2" fmla="*/ 8367639 w 8367639"/>
              <a:gd name="connsiteY2" fmla="*/ 116745 h 633225"/>
              <a:gd name="connsiteX3" fmla="*/ 8367639 w 8367639"/>
              <a:gd name="connsiteY3" fmla="*/ 633225 h 633225"/>
              <a:gd name="connsiteX4" fmla="*/ 8367639 w 8367639"/>
              <a:gd name="connsiteY4" fmla="*/ 633225 h 633225"/>
              <a:gd name="connsiteX5" fmla="*/ 26894 w 8367639"/>
              <a:gd name="connsiteY5" fmla="*/ 633225 h 633225"/>
              <a:gd name="connsiteX6" fmla="*/ 26894 w 8367639"/>
              <a:gd name="connsiteY6" fmla="*/ 633225 h 633225"/>
              <a:gd name="connsiteX7" fmla="*/ 0 w 8367639"/>
              <a:gd name="connsiteY7" fmla="*/ 439474 h 633225"/>
              <a:gd name="connsiteX8" fmla="*/ 3801239 w 8367639"/>
              <a:gd name="connsiteY8" fmla="*/ 0 h 633225"/>
              <a:gd name="connsiteX0" fmla="*/ 3707109 w 8367639"/>
              <a:gd name="connsiteY0" fmla="*/ 67236 h 633225"/>
              <a:gd name="connsiteX1" fmla="*/ 5669059 w 8367639"/>
              <a:gd name="connsiteY1" fmla="*/ 0 h 633225"/>
              <a:gd name="connsiteX2" fmla="*/ 8367639 w 8367639"/>
              <a:gd name="connsiteY2" fmla="*/ 116745 h 633225"/>
              <a:gd name="connsiteX3" fmla="*/ 8367639 w 8367639"/>
              <a:gd name="connsiteY3" fmla="*/ 633225 h 633225"/>
              <a:gd name="connsiteX4" fmla="*/ 8367639 w 8367639"/>
              <a:gd name="connsiteY4" fmla="*/ 633225 h 633225"/>
              <a:gd name="connsiteX5" fmla="*/ 26894 w 8367639"/>
              <a:gd name="connsiteY5" fmla="*/ 633225 h 633225"/>
              <a:gd name="connsiteX6" fmla="*/ 26894 w 8367639"/>
              <a:gd name="connsiteY6" fmla="*/ 633225 h 633225"/>
              <a:gd name="connsiteX7" fmla="*/ 0 w 8367639"/>
              <a:gd name="connsiteY7" fmla="*/ 439474 h 633225"/>
              <a:gd name="connsiteX8" fmla="*/ 3707109 w 8367639"/>
              <a:gd name="connsiteY8" fmla="*/ 67236 h 633225"/>
              <a:gd name="connsiteX0" fmla="*/ 3707109 w 8367639"/>
              <a:gd name="connsiteY0" fmla="*/ 0 h 565989"/>
              <a:gd name="connsiteX1" fmla="*/ 5642165 w 8367639"/>
              <a:gd name="connsiteY1" fmla="*/ 40341 h 565989"/>
              <a:gd name="connsiteX2" fmla="*/ 8367639 w 8367639"/>
              <a:gd name="connsiteY2" fmla="*/ 49509 h 565989"/>
              <a:gd name="connsiteX3" fmla="*/ 8367639 w 8367639"/>
              <a:gd name="connsiteY3" fmla="*/ 565989 h 565989"/>
              <a:gd name="connsiteX4" fmla="*/ 8367639 w 8367639"/>
              <a:gd name="connsiteY4" fmla="*/ 565989 h 565989"/>
              <a:gd name="connsiteX5" fmla="*/ 26894 w 8367639"/>
              <a:gd name="connsiteY5" fmla="*/ 565989 h 565989"/>
              <a:gd name="connsiteX6" fmla="*/ 26894 w 8367639"/>
              <a:gd name="connsiteY6" fmla="*/ 565989 h 565989"/>
              <a:gd name="connsiteX7" fmla="*/ 0 w 8367639"/>
              <a:gd name="connsiteY7" fmla="*/ 372238 h 565989"/>
              <a:gd name="connsiteX8" fmla="*/ 3707109 w 8367639"/>
              <a:gd name="connsiteY8" fmla="*/ 0 h 565989"/>
              <a:gd name="connsiteX0" fmla="*/ 3707109 w 8381086"/>
              <a:gd name="connsiteY0" fmla="*/ 0 h 565989"/>
              <a:gd name="connsiteX1" fmla="*/ 5642165 w 8381086"/>
              <a:gd name="connsiteY1" fmla="*/ 40341 h 565989"/>
              <a:gd name="connsiteX2" fmla="*/ 8381086 w 8381086"/>
              <a:gd name="connsiteY2" fmla="*/ 331897 h 565989"/>
              <a:gd name="connsiteX3" fmla="*/ 8367639 w 8381086"/>
              <a:gd name="connsiteY3" fmla="*/ 565989 h 565989"/>
              <a:gd name="connsiteX4" fmla="*/ 8367639 w 8381086"/>
              <a:gd name="connsiteY4" fmla="*/ 565989 h 565989"/>
              <a:gd name="connsiteX5" fmla="*/ 26894 w 8381086"/>
              <a:gd name="connsiteY5" fmla="*/ 565989 h 565989"/>
              <a:gd name="connsiteX6" fmla="*/ 26894 w 8381086"/>
              <a:gd name="connsiteY6" fmla="*/ 565989 h 565989"/>
              <a:gd name="connsiteX7" fmla="*/ 0 w 8381086"/>
              <a:gd name="connsiteY7" fmla="*/ 372238 h 565989"/>
              <a:gd name="connsiteX8" fmla="*/ 3707109 w 8381086"/>
              <a:gd name="connsiteY8" fmla="*/ 0 h 565989"/>
              <a:gd name="connsiteX0" fmla="*/ 3680215 w 8354192"/>
              <a:gd name="connsiteY0" fmla="*/ 0 h 565989"/>
              <a:gd name="connsiteX1" fmla="*/ 5615271 w 8354192"/>
              <a:gd name="connsiteY1" fmla="*/ 40341 h 565989"/>
              <a:gd name="connsiteX2" fmla="*/ 8354192 w 8354192"/>
              <a:gd name="connsiteY2" fmla="*/ 331897 h 565989"/>
              <a:gd name="connsiteX3" fmla="*/ 8340745 w 8354192"/>
              <a:gd name="connsiteY3" fmla="*/ 565989 h 565989"/>
              <a:gd name="connsiteX4" fmla="*/ 8340745 w 8354192"/>
              <a:gd name="connsiteY4" fmla="*/ 565989 h 565989"/>
              <a:gd name="connsiteX5" fmla="*/ 0 w 8354192"/>
              <a:gd name="connsiteY5" fmla="*/ 565989 h 565989"/>
              <a:gd name="connsiteX6" fmla="*/ 0 w 8354192"/>
              <a:gd name="connsiteY6" fmla="*/ 565989 h 565989"/>
              <a:gd name="connsiteX7" fmla="*/ 40341 w 8354192"/>
              <a:gd name="connsiteY7" fmla="*/ 372238 h 565989"/>
              <a:gd name="connsiteX8" fmla="*/ 3680215 w 8354192"/>
              <a:gd name="connsiteY8" fmla="*/ 0 h 56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54192" h="565989">
                <a:moveTo>
                  <a:pt x="3680215" y="0"/>
                </a:moveTo>
                <a:lnTo>
                  <a:pt x="5615271" y="40341"/>
                </a:lnTo>
                <a:lnTo>
                  <a:pt x="8354192" y="331897"/>
                </a:lnTo>
                <a:lnTo>
                  <a:pt x="8340745" y="565989"/>
                </a:lnTo>
                <a:lnTo>
                  <a:pt x="8340745" y="565989"/>
                </a:lnTo>
                <a:lnTo>
                  <a:pt x="0" y="565989"/>
                </a:lnTo>
                <a:lnTo>
                  <a:pt x="0" y="565989"/>
                </a:lnTo>
                <a:lnTo>
                  <a:pt x="40341" y="372238"/>
                </a:lnTo>
                <a:lnTo>
                  <a:pt x="368021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25713" y="2114244"/>
            <a:ext cx="3010936" cy="338554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VE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 de Implementació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108189" y="2744109"/>
            <a:ext cx="6246577" cy="28814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 dirty="0" err="1">
              <a:solidFill>
                <a:srgbClr val="31313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2003089" y="2800971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0" name="Straight Arrow Connector 39"/>
          <p:cNvCxnSpPr>
            <a:stCxn id="24" idx="4"/>
          </p:cNvCxnSpPr>
          <p:nvPr/>
        </p:nvCxnSpPr>
        <p:spPr>
          <a:xfrm>
            <a:off x="2103674" y="3004659"/>
            <a:ext cx="4515" cy="303994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3969517" y="2948970"/>
            <a:ext cx="0" cy="289408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6359514" y="2894756"/>
            <a:ext cx="0" cy="687245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963241" y="3379984"/>
            <a:ext cx="1789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2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isión del Modelo de Negocio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465810" y="3308654"/>
            <a:ext cx="1167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VE" sz="12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zación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727366" y="3674929"/>
            <a:ext cx="1376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2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paración Final</a:t>
            </a:r>
          </a:p>
        </p:txBody>
      </p:sp>
      <p:sp>
        <p:nvSpPr>
          <p:cNvPr id="56" name="Trapezoid 55"/>
          <p:cNvSpPr/>
          <p:nvPr/>
        </p:nvSpPr>
        <p:spPr>
          <a:xfrm>
            <a:off x="2309357" y="2464058"/>
            <a:ext cx="5876366" cy="267852"/>
          </a:xfrm>
          <a:custGeom>
            <a:avLst/>
            <a:gdLst>
              <a:gd name="connsiteX0" fmla="*/ 0 w 2393577"/>
              <a:gd name="connsiteY0" fmla="*/ 418812 h 418812"/>
              <a:gd name="connsiteX1" fmla="*/ 104703 w 2393577"/>
              <a:gd name="connsiteY1" fmla="*/ 0 h 418812"/>
              <a:gd name="connsiteX2" fmla="*/ 2288874 w 2393577"/>
              <a:gd name="connsiteY2" fmla="*/ 0 h 418812"/>
              <a:gd name="connsiteX3" fmla="*/ 2393577 w 2393577"/>
              <a:gd name="connsiteY3" fmla="*/ 418812 h 418812"/>
              <a:gd name="connsiteX4" fmla="*/ 0 w 2393577"/>
              <a:gd name="connsiteY4" fmla="*/ 418812 h 418812"/>
              <a:gd name="connsiteX0" fmla="*/ 0 w 4235824"/>
              <a:gd name="connsiteY0" fmla="*/ 418812 h 418812"/>
              <a:gd name="connsiteX1" fmla="*/ 104703 w 4235824"/>
              <a:gd name="connsiteY1" fmla="*/ 0 h 418812"/>
              <a:gd name="connsiteX2" fmla="*/ 2288874 w 4235824"/>
              <a:gd name="connsiteY2" fmla="*/ 0 h 418812"/>
              <a:gd name="connsiteX3" fmla="*/ 4235824 w 4235824"/>
              <a:gd name="connsiteY3" fmla="*/ 297789 h 418812"/>
              <a:gd name="connsiteX4" fmla="*/ 0 w 4235824"/>
              <a:gd name="connsiteY4" fmla="*/ 418812 h 418812"/>
              <a:gd name="connsiteX0" fmla="*/ 0 w 5876366"/>
              <a:gd name="connsiteY0" fmla="*/ 284342 h 297789"/>
              <a:gd name="connsiteX1" fmla="*/ 1745245 w 5876366"/>
              <a:gd name="connsiteY1" fmla="*/ 0 h 297789"/>
              <a:gd name="connsiteX2" fmla="*/ 3929416 w 5876366"/>
              <a:gd name="connsiteY2" fmla="*/ 0 h 297789"/>
              <a:gd name="connsiteX3" fmla="*/ 5876366 w 5876366"/>
              <a:gd name="connsiteY3" fmla="*/ 297789 h 297789"/>
              <a:gd name="connsiteX4" fmla="*/ 0 w 5876366"/>
              <a:gd name="connsiteY4" fmla="*/ 284342 h 2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6366" h="297789">
                <a:moveTo>
                  <a:pt x="0" y="284342"/>
                </a:moveTo>
                <a:lnTo>
                  <a:pt x="1745245" y="0"/>
                </a:lnTo>
                <a:lnTo>
                  <a:pt x="3929416" y="0"/>
                </a:lnTo>
                <a:lnTo>
                  <a:pt x="5876366" y="297789"/>
                </a:lnTo>
                <a:lnTo>
                  <a:pt x="0" y="28434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3864389" y="2816953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8261593" y="2809534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986080" y="3298264"/>
            <a:ext cx="8210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VE" sz="1200" b="1" dirty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 Liv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8362178" y="3001723"/>
            <a:ext cx="3617" cy="29226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/>
          <p:cNvSpPr/>
          <p:nvPr/>
        </p:nvSpPr>
        <p:spPr>
          <a:xfrm>
            <a:off x="6265055" y="2800971"/>
            <a:ext cx="201168" cy="203689"/>
          </a:xfrm>
          <a:prstGeom prst="ellipse">
            <a:avLst/>
          </a:prstGeom>
          <a:solidFill>
            <a:schemeClr val="bg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74948" y="3940804"/>
            <a:ext cx="20664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teami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abor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rob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talación SW SAP B1- Hana</a:t>
            </a:r>
            <a:r>
              <a:rPr lang="es-VE" sz="12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/>
          </a:p>
        </p:txBody>
      </p:sp>
      <p:sp>
        <p:nvSpPr>
          <p:cNvPr id="29" name="TextBox 28"/>
          <p:cNvSpPr txBox="1"/>
          <p:nvPr/>
        </p:nvSpPr>
        <p:spPr>
          <a:xfrm>
            <a:off x="3163088" y="3686705"/>
            <a:ext cx="22721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idación / Actualización de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ga de Data Maest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guración BD-SAP B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entación Prototip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uebas Integr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5655053" y="4161853"/>
            <a:ext cx="2066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pacitació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ga de Saldos Iniciale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680278" y="3605291"/>
            <a:ext cx="20664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 L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ompañamiento Post- producción presenc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VE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ompañamiento Post- producción remo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VE" sz="12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134994" y="5454226"/>
            <a:ext cx="8341734" cy="19353"/>
          </a:xfrm>
          <a:prstGeom prst="line">
            <a:avLst/>
          </a:prstGeom>
          <a:ln>
            <a:headEnd type="none"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869532" y="5589241"/>
            <a:ext cx="9643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dirty="0"/>
              <a:t>08/04/2019</a:t>
            </a:r>
          </a:p>
        </p:txBody>
      </p:sp>
      <p:sp>
        <p:nvSpPr>
          <p:cNvPr id="41" name="Oval 40"/>
          <p:cNvSpPr/>
          <p:nvPr/>
        </p:nvSpPr>
        <p:spPr>
          <a:xfrm>
            <a:off x="9344945" y="5364216"/>
            <a:ext cx="147592" cy="179041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 dirty="0">
              <a:solidFill>
                <a:srgbClr val="FFFFFF"/>
              </a:solidFill>
            </a:endParaRPr>
          </a:p>
        </p:txBody>
      </p:sp>
      <p:cxnSp>
        <p:nvCxnSpPr>
          <p:cNvPr id="42" name="Straight Arrow Connector 41"/>
          <p:cNvCxnSpPr>
            <a:endCxn id="43" idx="0"/>
          </p:cNvCxnSpPr>
          <p:nvPr/>
        </p:nvCxnSpPr>
        <p:spPr>
          <a:xfrm>
            <a:off x="2889117" y="5473578"/>
            <a:ext cx="1" cy="39411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2500954" y="5867691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dirty="0"/>
              <a:t>20/05/19</a:t>
            </a:r>
          </a:p>
        </p:txBody>
      </p:sp>
      <p:sp>
        <p:nvSpPr>
          <p:cNvPr id="16" name="Isosceles Triangle 15"/>
          <p:cNvSpPr/>
          <p:nvPr/>
        </p:nvSpPr>
        <p:spPr>
          <a:xfrm rot="16200000" flipV="1">
            <a:off x="1134419" y="5175934"/>
            <a:ext cx="195829" cy="572392"/>
          </a:xfrm>
          <a:prstGeom prst="triangl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endParaRPr lang="es-VE" sz="1400" dirty="0" err="1">
              <a:solidFill>
                <a:schemeClr val="tx2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996009" y="5544236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59512">
              <a:defRPr/>
            </a:pPr>
            <a:r>
              <a:rPr lang="en-US" sz="11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1/05/19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243622" y="5899759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25/07/19</a:t>
            </a:r>
          </a:p>
        </p:txBody>
      </p:sp>
      <p:cxnSp>
        <p:nvCxnSpPr>
          <p:cNvPr id="50" name="Straight Arrow Connector 49"/>
          <p:cNvCxnSpPr/>
          <p:nvPr/>
        </p:nvCxnSpPr>
        <p:spPr>
          <a:xfrm rot="16200000">
            <a:off x="3041013" y="5319210"/>
            <a:ext cx="0" cy="270030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5561294" y="5473579"/>
            <a:ext cx="1" cy="39411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rot="16200000">
            <a:off x="5713190" y="5319211"/>
            <a:ext cx="0" cy="270030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5640062" y="5499231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26/07/19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90212" y="5904276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15/08/19</a:t>
            </a:r>
          </a:p>
        </p:txBody>
      </p:sp>
      <p:cxnSp>
        <p:nvCxnSpPr>
          <p:cNvPr id="63" name="Straight Arrow Connector 62"/>
          <p:cNvCxnSpPr/>
          <p:nvPr/>
        </p:nvCxnSpPr>
        <p:spPr>
          <a:xfrm>
            <a:off x="7361494" y="5473579"/>
            <a:ext cx="1" cy="394112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rot="16200000">
            <a:off x="7513390" y="5319211"/>
            <a:ext cx="0" cy="270030"/>
          </a:xfrm>
          <a:prstGeom prst="straightConnector1">
            <a:avLst/>
          </a:prstGeom>
          <a:ln>
            <a:solidFill>
              <a:srgbClr val="92D4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7406499" y="5507651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16/08/19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970432" y="5634246"/>
            <a:ext cx="7763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30/08/19</a:t>
            </a:r>
            <a:endParaRPr lang="es-VE" sz="1100" dirty="0"/>
          </a:p>
        </p:txBody>
      </p:sp>
      <p:sp>
        <p:nvSpPr>
          <p:cNvPr id="68" name="TextBox 67"/>
          <p:cNvSpPr txBox="1"/>
          <p:nvPr/>
        </p:nvSpPr>
        <p:spPr>
          <a:xfrm>
            <a:off x="1724627" y="5192615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 días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908330" y="5218667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5 días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8118127" y="5211968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 día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092033" y="5237620"/>
            <a:ext cx="7763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 día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74742" y="6397619"/>
            <a:ext cx="48148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b="1" dirty="0">
                <a:solidFill>
                  <a:srgbClr val="FF0000"/>
                </a:solidFill>
              </a:rPr>
              <a:t>*Es indispensable que los servidores se encuentren disponibles para esta fecha</a:t>
            </a:r>
          </a:p>
        </p:txBody>
      </p:sp>
    </p:spTree>
    <p:extLst>
      <p:ext uri="{BB962C8B-B14F-4D97-AF65-F5344CB8AC3E}">
        <p14:creationId xmlns:p14="http://schemas.microsoft.com/office/powerpoint/2010/main" val="34449586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2 Marcador de número de diapositiva"/>
          <p:cNvSpPr txBox="1">
            <a:spLocks/>
          </p:cNvSpPr>
          <p:nvPr/>
        </p:nvSpPr>
        <p:spPr>
          <a:xfrm>
            <a:off x="1023794" y="6597650"/>
            <a:ext cx="360000" cy="2603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endParaRPr lang="en-US" dirty="0">
              <a:solidFill>
                <a:srgbClr val="002776"/>
              </a:solidFill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4384440"/>
              </p:ext>
            </p:extLst>
          </p:nvPr>
        </p:nvGraphicFramePr>
        <p:xfrm>
          <a:off x="1155430" y="696346"/>
          <a:ext cx="8200198" cy="5707380"/>
        </p:xfrm>
        <a:graphic>
          <a:graphicData uri="http://schemas.openxmlformats.org/drawingml/2006/table">
            <a:tbl>
              <a:tblPr/>
              <a:tblGrid>
                <a:gridCol w="35345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24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4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83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8615">
                <a:tc>
                  <a:txBody>
                    <a:bodyPr/>
                    <a:lstStyle/>
                    <a:p>
                      <a:pPr algn="ctr"/>
                      <a:r>
                        <a:rPr lang="es-VE" sz="14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ividad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VE" sz="1400" b="1" noProof="0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uración (Días)</a:t>
                      </a:r>
                      <a:endParaRPr lang="es-VE" sz="1400" b="1" noProof="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VE" sz="14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in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445">
                <a:tc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ye</a:t>
                      </a:r>
                      <a:r>
                        <a:rPr lang="en-US" sz="1400" b="1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to</a:t>
                      </a:r>
                      <a:r>
                        <a:rPr lang="en-US" sz="1400" b="1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s-VE" sz="1400" b="1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nesco Holding Medios de Pago, S.L</a:t>
                      </a:r>
                      <a:endParaRPr lang="en-US" sz="14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6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/04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VE" sz="1400" b="1" kern="1200" noProof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visión del Modelo de Negocio</a:t>
                      </a:r>
                      <a:endParaRPr lang="es-VE" sz="1400" b="1" kern="1200" noProof="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/04</a:t>
                      </a: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baseline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05</a:t>
                      </a: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615">
                <a:tc>
                  <a:txBody>
                    <a:bodyPr/>
                    <a:lstStyle/>
                    <a:p>
                      <a:pPr marL="0" marR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</a:t>
                      </a: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</a:t>
                      </a:r>
                      <a:r>
                        <a:rPr lang="es-VE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nteamiento</a:t>
                      </a:r>
                      <a:r>
                        <a:rPr lang="es-VE" sz="1400" b="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, Elaboración y    Aprobación</a:t>
                      </a:r>
                      <a:endParaRPr lang="es-VE" sz="1400" b="0" noProof="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</a:t>
                      </a:r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04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05</a:t>
                      </a:r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s-VE" sz="1400" noProof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stalación</a:t>
                      </a:r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W SB1 y Hana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r>
                        <a:rPr lang="en-US" sz="1400" b="1" dirty="0" smtClean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*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7/05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/05/19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875033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alización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/05/19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/07/18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8615">
                <a:tc>
                  <a:txBody>
                    <a:bodyPr/>
                    <a:lstStyle/>
                    <a:p>
                      <a:r>
                        <a:rPr lang="es-VE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s-VE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alidación / Actualización</a:t>
                      </a:r>
                      <a:r>
                        <a:rPr lang="es-VE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Data (Plantillas)</a:t>
                      </a:r>
                      <a:endParaRPr lang="es-VE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/05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/06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r>
                        <a:rPr lang="es-VE" sz="1400" noProof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s-VE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figuración BD SB1</a:t>
                      </a:r>
                      <a:endParaRPr lang="es-VE" sz="1400" noProof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/06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r>
                        <a:rPr lang="es-VE" sz="1400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</a:t>
                      </a:r>
                      <a:r>
                        <a:rPr lang="es-VE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</a:t>
                      </a:r>
                      <a:r>
                        <a:rPr lang="es-VE" sz="1400" noProof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rga</a:t>
                      </a:r>
                      <a:r>
                        <a:rPr lang="es-VE" sz="1400" baseline="0" noProof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Data Maestra</a:t>
                      </a:r>
                      <a:endParaRPr lang="en-US" sz="1400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6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8615">
                <a:tc>
                  <a:txBody>
                    <a:bodyPr/>
                    <a:lstStyle/>
                    <a:p>
                      <a:r>
                        <a:rPr lang="es-VE" sz="1400" noProof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</a:t>
                      </a:r>
                      <a:r>
                        <a:rPr lang="es-VE" sz="1400" baseline="0" noProof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resentación del Prototipo / Pruebas Integrales </a:t>
                      </a:r>
                      <a:endParaRPr lang="es-VE" sz="1400" noProof="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VE" sz="1400" b="1" kern="1200" noProof="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paración Final </a:t>
                      </a:r>
                      <a:endParaRPr lang="es-VE" sz="1400" b="1" kern="1200" noProof="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7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</a:t>
                      </a:r>
                      <a:r>
                        <a:rPr lang="es-VE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pacitación</a:t>
                      </a:r>
                      <a:r>
                        <a:rPr lang="es-VE" sz="14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Usuarios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7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8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6462">
                <a:tc>
                  <a:txBody>
                    <a:bodyPr/>
                    <a:lstStyle/>
                    <a:p>
                      <a:r>
                        <a:rPr lang="es-VE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Carga de S</a:t>
                      </a:r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dos Iniciales</a:t>
                      </a:r>
                      <a:r>
                        <a:rPr lang="en-US" sz="14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VE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9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o-Live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VE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92D4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/08/19</a:t>
                      </a:r>
                      <a:endParaRPr lang="en-US" sz="1400" b="1" kern="1200" dirty="0">
                        <a:solidFill>
                          <a:srgbClr val="92D4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346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o-Liv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/08/19</a:t>
                      </a: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67544"/>
                  </a:ext>
                </a:extLst>
              </a:tr>
              <a:tr h="428615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ompañamient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ost-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duccion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encial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8280357"/>
                  </a:ext>
                </a:extLst>
              </a:tr>
              <a:tr h="428615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        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ompañamient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ost-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duccion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baseline="0" dirty="0" err="1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moto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/08/19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9398925"/>
                  </a:ext>
                </a:extLst>
              </a:tr>
              <a:tr h="252773">
                <a:tc gridSpan="4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859512" rtl="0" eaLnBrk="1" latinLnBrk="0" hangingPunct="1"/>
                      <a:endParaRPr lang="en-US" sz="16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859512" rtl="0" eaLnBrk="1" latinLnBrk="0" hangingPunct="1"/>
                      <a:endParaRPr lang="en-US" sz="16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1BB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565503" y="6397619"/>
            <a:ext cx="48148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100" b="1" dirty="0">
                <a:solidFill>
                  <a:srgbClr val="FF0000"/>
                </a:solidFill>
              </a:rPr>
              <a:t>*Es indispensable que los servidores se encuentren disponibles para esta fecha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786525" y="258267"/>
            <a:ext cx="8674961" cy="506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85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8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s-UY" altLang="es-VE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Pasos</a:t>
            </a:r>
            <a:endParaRPr lang="en-US" altLang="es-VE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293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7675553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5915099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4000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6528120" y="2090251"/>
            <a:ext cx="2112291" cy="1982635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2634801" y="1840230"/>
            <a:ext cx="2241396" cy="2241396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4689562" y="3199234"/>
            <a:ext cx="1957093" cy="1956119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271542" y="2837821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Introducció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705984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3195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5396503" y="3684855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Visión General del Proyect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795158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324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7228631" y="2899323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prstClr val="white"/>
                </a:solidFill>
                <a:latin typeface="Verdana"/>
              </a:rPr>
              <a:t>Entendimiento </a:t>
            </a:r>
          </a:p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del Negocio</a:t>
            </a:r>
            <a:endParaRPr lang="en-US" sz="9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596806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7144257" y="2521724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8200125" y="3549259"/>
            <a:ext cx="1769877" cy="1768998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27619" y="4230847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Verdana"/>
              </a:rPr>
              <a:t>Próximos Paso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200125" y="38340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Verdana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8736179" y="3892499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1910536" y="364217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Footer Placeholder 4"/>
          <p:cNvSpPr txBox="1">
            <a:spLocks/>
          </p:cNvSpPr>
          <p:nvPr/>
        </p:nvSpPr>
        <p:spPr>
          <a:xfrm>
            <a:off x="1894114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95985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291665"/>
            <a:ext cx="9163050" cy="1096438"/>
          </a:xfrm>
        </p:spPr>
        <p:txBody>
          <a:bodyPr/>
          <a:lstStyle/>
          <a:p>
            <a:pPr algn="just">
              <a:lnSpc>
                <a:spcPct val="115000"/>
              </a:lnSpc>
              <a:spcBef>
                <a:spcPct val="50000"/>
              </a:spcBef>
              <a:defRPr/>
            </a:pP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éxito de nuestros servicios de Consultoría se debe a la excelente integración de un equipo multidisciplinario de profesionales con amplia y reconocida experiencia y a la incorporación del personal clave de nuestros clientes. Para este proyecto se constituirá un equipo combinado con personal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</a:t>
            </a:r>
            <a:r>
              <a:rPr lang="en-US" sz="1400" b="1" dirty="0"/>
              <a:t>Johnson &amp; Johnson de </a:t>
            </a:r>
            <a:r>
              <a:rPr lang="en-US" sz="1400" b="1" dirty="0" smtClean="0"/>
              <a:t>Venezuela, </a:t>
            </a:r>
            <a:r>
              <a:rPr lang="en-US" sz="1400" b="1" dirty="0"/>
              <a:t>Janssen </a:t>
            </a:r>
            <a:r>
              <a:rPr lang="en-US" sz="1400" b="1" dirty="0" err="1" smtClean="0"/>
              <a:t>Cilag</a:t>
            </a:r>
            <a:r>
              <a:rPr lang="en-US" sz="1400" b="1" dirty="0" smtClean="0"/>
              <a:t> C.A. 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y </a:t>
            </a:r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Deloitte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Equipo de Proyecto</a:t>
            </a:r>
            <a:endParaRPr lang="es-VE" dirty="0"/>
          </a:p>
        </p:txBody>
      </p:sp>
      <p:sp>
        <p:nvSpPr>
          <p:cNvPr id="41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quipo y Plan de Trabaj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469901" y="5383907"/>
            <a:ext cx="9163050" cy="12800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lnSpc>
                <a:spcPct val="115000"/>
              </a:lnSpc>
              <a:spcBef>
                <a:spcPct val="50000"/>
              </a:spcBef>
              <a:defRPr/>
            </a:pP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equipo trabajará integrado bajo una dirección única, objetivos comunes, responsabilidades claramente definidas y bajo una clara disciplina metodológica; lo que permitirá aprovechar al máximo la experiencia y capacidades del personal asignado orientándolos a la obtención de los objetivos del proyecto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2822848" y="2424789"/>
            <a:ext cx="5659069" cy="2772418"/>
            <a:chOff x="3261160" y="3704476"/>
            <a:chExt cx="4239969" cy="1791929"/>
          </a:xfrm>
        </p:grpSpPr>
        <p:sp>
          <p:nvSpPr>
            <p:cNvPr id="17" name="Rectangle 16"/>
            <p:cNvSpPr/>
            <p:nvPr/>
          </p:nvSpPr>
          <p:spPr bwMode="auto">
            <a:xfrm>
              <a:off x="6061129" y="4768387"/>
              <a:ext cx="1440000" cy="5048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91440" rIns="90000" bIns="91440" rtlCol="0" anchor="ctr"/>
            <a:lstStyle/>
            <a:p>
              <a:pPr marL="179388" indent="-179388" algn="ctr" defTabSz="449263" eaLnBrk="0" hangingPunct="0">
                <a:lnSpc>
                  <a:spcPct val="110000"/>
                </a:lnSpc>
                <a:buClr>
                  <a:srgbClr val="091D5D"/>
                </a:buClr>
                <a:buSzPct val="100000"/>
                <a:buFont typeface="Wingdings" pitchFamily="2" charset="2"/>
                <a:buNone/>
                <a:tabLst>
                  <a:tab pos="457200" algn="l"/>
                  <a:tab pos="906463" algn="l"/>
                  <a:tab pos="1355725" algn="l"/>
                  <a:tab pos="1804988" algn="l"/>
                  <a:tab pos="2254250" algn="l"/>
                  <a:tab pos="2703513" algn="l"/>
                  <a:tab pos="3152775" algn="l"/>
                  <a:tab pos="3602038" algn="l"/>
                  <a:tab pos="4051300" algn="l"/>
                  <a:tab pos="4500563" algn="l"/>
                  <a:tab pos="4949825" algn="l"/>
                  <a:tab pos="5399088" algn="l"/>
                  <a:tab pos="5848350" algn="l"/>
                  <a:tab pos="6297613" algn="l"/>
                  <a:tab pos="6746875" algn="l"/>
                  <a:tab pos="7196138" algn="l"/>
                  <a:tab pos="7645400" algn="l"/>
                  <a:tab pos="8094663" algn="l"/>
                  <a:tab pos="8543925" algn="l"/>
                  <a:tab pos="8993188" algn="l"/>
                </a:tabLst>
              </a:pPr>
              <a:endParaRPr lang="en-US" sz="900" b="1" dirty="0">
                <a:solidFill>
                  <a:srgbClr val="091D5D"/>
                </a:solidFill>
                <a:latin typeface="+mn-lt"/>
                <a:ea typeface="Arial Unicode MS" pitchFamily="34" charset="-128"/>
              </a:endParaRPr>
            </a:p>
          </p:txBody>
        </p:sp>
        <p:grpSp>
          <p:nvGrpSpPr>
            <p:cNvPr id="18" name="Group 156"/>
            <p:cNvGrpSpPr/>
            <p:nvPr/>
          </p:nvGrpSpPr>
          <p:grpSpPr>
            <a:xfrm>
              <a:off x="3261160" y="3704476"/>
              <a:ext cx="2909712" cy="654482"/>
              <a:chOff x="1463138" y="4485803"/>
              <a:chExt cx="2909712" cy="654482"/>
            </a:xfrm>
          </p:grpSpPr>
          <p:sp>
            <p:nvSpPr>
              <p:cNvPr id="36" name="Rectangle 29"/>
              <p:cNvSpPr>
                <a:spLocks noChangeArrowheads="1"/>
              </p:cNvSpPr>
              <p:nvPr/>
            </p:nvSpPr>
            <p:spPr bwMode="auto">
              <a:xfrm>
                <a:off x="1463138" y="4485803"/>
                <a:ext cx="2909712" cy="19580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b="1" dirty="0" smtClean="0">
                    <a:solidFill>
                      <a:srgbClr val="FFFFFF"/>
                    </a:solidFill>
                    <a:latin typeface="+mn-lt"/>
                  </a:rPr>
                  <a:t>Gerencia del Proyecto</a:t>
                </a:r>
              </a:p>
            </p:txBody>
          </p:sp>
          <p:sp>
            <p:nvSpPr>
              <p:cNvPr id="37" name="Rectangle 29"/>
              <p:cNvSpPr>
                <a:spLocks noChangeArrowheads="1"/>
              </p:cNvSpPr>
              <p:nvPr/>
            </p:nvSpPr>
            <p:spPr bwMode="auto">
              <a:xfrm>
                <a:off x="1463138" y="4683384"/>
                <a:ext cx="1292074" cy="174663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lvl="0"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</a:pPr>
                <a:r>
                  <a:rPr lang="es-UY" sz="900" b="1" dirty="0" smtClean="0">
                    <a:solidFill>
                      <a:srgbClr val="FFFFFF"/>
                    </a:solidFill>
                    <a:latin typeface="+mn-lt"/>
                  </a:rPr>
                  <a:t>Deloitte</a:t>
                </a:r>
              </a:p>
            </p:txBody>
          </p:sp>
          <p:sp>
            <p:nvSpPr>
              <p:cNvPr id="38" name="Rectangle 29"/>
              <p:cNvSpPr>
                <a:spLocks noChangeArrowheads="1"/>
              </p:cNvSpPr>
              <p:nvPr/>
            </p:nvSpPr>
            <p:spPr bwMode="auto">
              <a:xfrm>
                <a:off x="2755214" y="4683385"/>
                <a:ext cx="1617636" cy="186141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b="1" dirty="0" smtClean="0">
                    <a:solidFill>
                      <a:srgbClr val="FFFFFF"/>
                    </a:solidFill>
                  </a:rPr>
                  <a:t>Johnson &amp; Johnson de Venezuela y </a:t>
                </a:r>
                <a:r>
                  <a:rPr lang="es-UY" sz="900" b="1" dirty="0" err="1" smtClean="0">
                    <a:solidFill>
                      <a:srgbClr val="FFFFFF"/>
                    </a:solidFill>
                  </a:rPr>
                  <a:t>Janssen</a:t>
                </a:r>
                <a:r>
                  <a:rPr lang="es-UY" sz="900" b="1" dirty="0" smtClean="0">
                    <a:solidFill>
                      <a:srgbClr val="FFFFFF"/>
                    </a:solidFill>
                  </a:rPr>
                  <a:t> </a:t>
                </a:r>
                <a:r>
                  <a:rPr lang="es-UY" sz="900" b="1" dirty="0" err="1" smtClean="0">
                    <a:solidFill>
                      <a:srgbClr val="FFFFFF"/>
                    </a:solidFill>
                  </a:rPr>
                  <a:t>Cilag</a:t>
                </a:r>
                <a:r>
                  <a:rPr lang="es-UY" sz="900" b="1" dirty="0" smtClean="0">
                    <a:solidFill>
                      <a:srgbClr val="FFFFFF"/>
                    </a:solidFill>
                  </a:rPr>
                  <a:t> C.A.</a:t>
                </a:r>
                <a:endParaRPr lang="es-UY" sz="900" b="1" dirty="0" smtClean="0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39" name="Rectangle 30"/>
              <p:cNvSpPr>
                <a:spLocks noChangeArrowheads="1"/>
              </p:cNvSpPr>
              <p:nvPr/>
            </p:nvSpPr>
            <p:spPr bwMode="auto">
              <a:xfrm>
                <a:off x="1463138" y="4859826"/>
                <a:ext cx="1292076" cy="28045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>
                <a:norm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Gerente de Proyecto</a:t>
                </a:r>
                <a:endParaRPr lang="es-UY" sz="9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40" name="Rectangle 30"/>
              <p:cNvSpPr>
                <a:spLocks noChangeArrowheads="1"/>
              </p:cNvSpPr>
              <p:nvPr/>
            </p:nvSpPr>
            <p:spPr bwMode="auto">
              <a:xfrm>
                <a:off x="2755214" y="4859826"/>
                <a:ext cx="1617636" cy="278681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>
                <a:no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 Líder </a:t>
                </a:r>
                <a:b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</a:b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de Proyecto </a:t>
                </a:r>
                <a:endParaRPr lang="es-UY" sz="9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cxnSp>
          <p:nvCxnSpPr>
            <p:cNvPr id="19" name="Straight Connector 18"/>
            <p:cNvCxnSpPr/>
            <p:nvPr/>
          </p:nvCxnSpPr>
          <p:spPr>
            <a:xfrm>
              <a:off x="4554485" y="4358958"/>
              <a:ext cx="2239" cy="46658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/>
            <p:cNvGrpSpPr/>
            <p:nvPr/>
          </p:nvGrpSpPr>
          <p:grpSpPr>
            <a:xfrm>
              <a:off x="3261161" y="5022576"/>
              <a:ext cx="2909711" cy="473829"/>
              <a:chOff x="1714287" y="4806552"/>
              <a:chExt cx="2909711" cy="473829"/>
            </a:xfrm>
          </p:grpSpPr>
          <p:sp>
            <p:nvSpPr>
              <p:cNvPr id="22" name="Rectangle 21"/>
              <p:cNvSpPr>
                <a:spLocks noChangeArrowheads="1"/>
              </p:cNvSpPr>
              <p:nvPr/>
            </p:nvSpPr>
            <p:spPr bwMode="auto">
              <a:xfrm>
                <a:off x="1714287" y="4806555"/>
                <a:ext cx="1287597" cy="180758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lvl="0"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</a:pPr>
                <a:r>
                  <a:rPr lang="es-UY" sz="900" b="1" dirty="0" smtClean="0">
                    <a:solidFill>
                      <a:srgbClr val="FFFFFF"/>
                    </a:solidFill>
                    <a:latin typeface="+mn-lt"/>
                  </a:rPr>
                  <a:t>Deloitte</a:t>
                </a:r>
              </a:p>
            </p:txBody>
          </p:sp>
          <p:sp>
            <p:nvSpPr>
              <p:cNvPr id="25" name="Rectangle 29"/>
              <p:cNvSpPr>
                <a:spLocks noChangeArrowheads="1"/>
              </p:cNvSpPr>
              <p:nvPr/>
            </p:nvSpPr>
            <p:spPr bwMode="auto">
              <a:xfrm>
                <a:off x="3007612" y="4806552"/>
                <a:ext cx="1616386" cy="201663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solidFill>
                  <a:srgbClr val="92D400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 anchorCtr="1">
                <a:no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b="1" dirty="0">
                    <a:solidFill>
                      <a:srgbClr val="FFFFFF"/>
                    </a:solidFill>
                  </a:rPr>
                  <a:t>Johnson &amp; Johnson de </a:t>
                </a:r>
                <a:r>
                  <a:rPr lang="es-UY" sz="900" b="1" dirty="0" smtClean="0">
                    <a:solidFill>
                      <a:srgbClr val="FFFFFF"/>
                    </a:solidFill>
                  </a:rPr>
                  <a:t>Venezuela y </a:t>
                </a:r>
                <a:r>
                  <a:rPr lang="es-UY" sz="900" b="1" dirty="0" err="1" smtClean="0">
                    <a:solidFill>
                      <a:srgbClr val="FFFFFF"/>
                    </a:solidFill>
                  </a:rPr>
                  <a:t>Janssen</a:t>
                </a:r>
                <a:r>
                  <a:rPr lang="es-UY" sz="900" b="1" dirty="0" smtClean="0">
                    <a:solidFill>
                      <a:srgbClr val="FFFFFF"/>
                    </a:solidFill>
                  </a:rPr>
                  <a:t> </a:t>
                </a:r>
                <a:r>
                  <a:rPr lang="es-UY" sz="900" b="1" dirty="0" err="1" smtClean="0">
                    <a:solidFill>
                      <a:srgbClr val="FFFFFF"/>
                    </a:solidFill>
                  </a:rPr>
                  <a:t>Cilag</a:t>
                </a:r>
                <a:r>
                  <a:rPr lang="es-UY" sz="900" b="1" dirty="0" smtClean="0">
                    <a:solidFill>
                      <a:srgbClr val="FFFFFF"/>
                    </a:solidFill>
                  </a:rPr>
                  <a:t> C.A.</a:t>
                </a:r>
                <a:endParaRPr lang="es-UY" sz="9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30"/>
              <p:cNvSpPr>
                <a:spLocks noChangeArrowheads="1"/>
              </p:cNvSpPr>
              <p:nvPr/>
            </p:nvSpPr>
            <p:spPr bwMode="auto">
              <a:xfrm>
                <a:off x="1714287" y="4985540"/>
                <a:ext cx="1293324" cy="29484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>
                <a:norm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(</a:t>
                </a:r>
                <a:r>
                  <a:rPr lang="es-UY" sz="900" dirty="0" smtClean="0">
                    <a:solidFill>
                      <a:srgbClr val="000000"/>
                    </a:solidFill>
                  </a:rPr>
                  <a:t>3)</a:t>
                </a: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 Tres Consultores </a:t>
                </a:r>
                <a:r>
                  <a:rPr lang="es-UY" sz="900" dirty="0">
                    <a:solidFill>
                      <a:srgbClr val="000000"/>
                    </a:solidFill>
                    <a:latin typeface="+mn-lt"/>
                  </a:rPr>
                  <a:t>Funcionales </a:t>
                </a: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B1</a:t>
                </a:r>
                <a:endParaRPr lang="es-UY" sz="90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35" name="Rectangle 30"/>
              <p:cNvSpPr>
                <a:spLocks noChangeArrowheads="1"/>
              </p:cNvSpPr>
              <p:nvPr/>
            </p:nvSpPr>
            <p:spPr bwMode="auto">
              <a:xfrm>
                <a:off x="3007612" y="4987314"/>
                <a:ext cx="1616386" cy="293067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86BC25"/>
                </a:solidFill>
                <a:miter lim="800000"/>
                <a:headEnd/>
                <a:tailEnd/>
              </a:ln>
            </p:spPr>
            <p:txBody>
              <a:bodyPr wrap="square" lIns="36000" tIns="36000" rIns="36000" bIns="36000" anchor="ctr">
                <a:normAutofit/>
              </a:bodyPr>
              <a:lstStyle/>
              <a:p>
                <a:pPr algn="ctr">
                  <a:lnSpc>
                    <a:spcPct val="106000"/>
                  </a:lnSpc>
                  <a:spcBef>
                    <a:spcPct val="80000"/>
                  </a:spcBef>
                  <a:buClr>
                    <a:srgbClr val="000000"/>
                  </a:buClr>
                  <a:buSzPct val="80000"/>
                  <a:buFont typeface="Wingdings" pitchFamily="2" charset="2"/>
                  <a:buNone/>
                </a:pPr>
                <a:r>
                  <a:rPr lang="es-UY" sz="900" dirty="0" smtClean="0">
                    <a:solidFill>
                      <a:srgbClr val="000000"/>
                    </a:solidFill>
                    <a:latin typeface="+mn-lt"/>
                  </a:rPr>
                  <a:t>Usuarios Clave</a:t>
                </a:r>
                <a:endParaRPr lang="es-UY" sz="900" dirty="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  <p:sp>
          <p:nvSpPr>
            <p:cNvPr id="21" name="Rectangle 29"/>
            <p:cNvSpPr>
              <a:spLocks noChangeArrowheads="1"/>
            </p:cNvSpPr>
            <p:nvPr/>
          </p:nvSpPr>
          <p:spPr bwMode="auto">
            <a:xfrm>
              <a:off x="3261160" y="4825546"/>
              <a:ext cx="2909712" cy="19525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 anchorCtr="1">
              <a:noAutofit/>
            </a:bodyPr>
            <a:lstStyle/>
            <a:p>
              <a:pPr algn="ctr">
                <a:lnSpc>
                  <a:spcPct val="106000"/>
                </a:lnSpc>
                <a:spcBef>
                  <a:spcPct val="80000"/>
                </a:spcBef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lang="es-UY" sz="900" b="1" dirty="0" smtClean="0">
                  <a:solidFill>
                    <a:srgbClr val="FFFFFF"/>
                  </a:solidFill>
                  <a:latin typeface="+mn-lt"/>
                </a:rPr>
                <a:t>Equipo Funcional</a:t>
              </a:r>
            </a:p>
          </p:txBody>
        </p:sp>
      </p:grpSp>
      <p:sp>
        <p:nvSpPr>
          <p:cNvPr id="44" name="Rectangle 29"/>
          <p:cNvSpPr>
            <a:spLocks noChangeArrowheads="1"/>
          </p:cNvSpPr>
          <p:nvPr/>
        </p:nvSpPr>
        <p:spPr bwMode="auto">
          <a:xfrm>
            <a:off x="7295456" y="2400140"/>
            <a:ext cx="1845206" cy="225028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1">
            <a:noAutofit/>
          </a:bodyPr>
          <a:lstStyle/>
          <a:p>
            <a:pPr lvl="0" algn="ctr">
              <a:lnSpc>
                <a:spcPct val="106000"/>
              </a:lnSpc>
              <a:spcBef>
                <a:spcPct val="80000"/>
              </a:spcBef>
              <a:buClr>
                <a:srgbClr val="000000"/>
              </a:buClr>
              <a:buSzPct val="80000"/>
            </a:pPr>
            <a:r>
              <a:rPr lang="es-UY" sz="900" b="1" dirty="0" smtClean="0">
                <a:solidFill>
                  <a:srgbClr val="FFFFFF"/>
                </a:solidFill>
                <a:latin typeface="+mn-lt"/>
              </a:rPr>
              <a:t>Comité Dirección</a:t>
            </a:r>
          </a:p>
        </p:txBody>
      </p:sp>
      <p:sp>
        <p:nvSpPr>
          <p:cNvPr id="45" name="Rectangle 30"/>
          <p:cNvSpPr>
            <a:spLocks noChangeArrowheads="1"/>
          </p:cNvSpPr>
          <p:nvPr/>
        </p:nvSpPr>
        <p:spPr bwMode="auto">
          <a:xfrm>
            <a:off x="7295457" y="2637807"/>
            <a:ext cx="1845206" cy="47579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>
              <a:lnSpc>
                <a:spcPct val="106000"/>
              </a:lnSpc>
              <a:spcBef>
                <a:spcPct val="80000"/>
              </a:spcBef>
              <a:buClr>
                <a:srgbClr val="000000"/>
              </a:buClr>
              <a:buSzPct val="80000"/>
              <a:buFont typeface="Wingdings" pitchFamily="2" charset="2"/>
              <a:buNone/>
            </a:pPr>
            <a:r>
              <a:rPr lang="es-UY" sz="900" dirty="0" smtClean="0">
                <a:solidFill>
                  <a:srgbClr val="000000"/>
                </a:solidFill>
                <a:latin typeface="+mn-lt"/>
              </a:rPr>
              <a:t>Sponsor </a:t>
            </a:r>
            <a:r>
              <a:rPr lang="es-UY" sz="900" dirty="0"/>
              <a:t>Johnson </a:t>
            </a:r>
            <a:r>
              <a:rPr lang="es-UY" sz="900" dirty="0" smtClean="0"/>
              <a:t>&amp; </a:t>
            </a:r>
            <a:r>
              <a:rPr lang="es-UY" sz="900" dirty="0"/>
              <a:t>Johnson de </a:t>
            </a:r>
            <a:r>
              <a:rPr lang="es-UY" sz="900" dirty="0" smtClean="0"/>
              <a:t>Venezuela y </a:t>
            </a:r>
            <a:r>
              <a:rPr lang="es-UY" sz="900" dirty="0" err="1" smtClean="0"/>
              <a:t>Janssen</a:t>
            </a:r>
            <a:r>
              <a:rPr lang="es-UY" sz="900" dirty="0" smtClean="0"/>
              <a:t> </a:t>
            </a:r>
            <a:r>
              <a:rPr lang="es-UY" sz="900" dirty="0" err="1" smtClean="0"/>
              <a:t>Cilag</a:t>
            </a:r>
            <a:r>
              <a:rPr lang="es-UY" sz="900" dirty="0" smtClean="0"/>
              <a:t> C.A.</a:t>
            </a:r>
            <a:endParaRPr lang="es-UY" sz="900" dirty="0"/>
          </a:p>
        </p:txBody>
      </p:sp>
      <p:cxnSp>
        <p:nvCxnSpPr>
          <p:cNvPr id="48" name="Straight Connector 47"/>
          <p:cNvCxnSpPr>
            <a:stCxn id="38" idx="3"/>
            <a:endCxn id="45" idx="1"/>
          </p:cNvCxnSpPr>
          <p:nvPr/>
        </p:nvCxnSpPr>
        <p:spPr>
          <a:xfrm>
            <a:off x="6706429" y="2874478"/>
            <a:ext cx="589028" cy="122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29"/>
          <p:cNvSpPr>
            <a:spLocks noChangeArrowheads="1"/>
          </p:cNvSpPr>
          <p:nvPr/>
        </p:nvSpPr>
        <p:spPr bwMode="auto">
          <a:xfrm>
            <a:off x="730987" y="3406982"/>
            <a:ext cx="1845206" cy="318884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1">
            <a:noAutofit/>
          </a:bodyPr>
          <a:lstStyle/>
          <a:p>
            <a:pPr lvl="0" algn="ctr">
              <a:lnSpc>
                <a:spcPct val="106000"/>
              </a:lnSpc>
              <a:spcBef>
                <a:spcPct val="80000"/>
              </a:spcBef>
              <a:buClr>
                <a:srgbClr val="000000"/>
              </a:buClr>
              <a:buSzPct val="80000"/>
            </a:pPr>
            <a:r>
              <a:rPr lang="es-UY" sz="900" b="1" dirty="0" smtClean="0">
                <a:solidFill>
                  <a:srgbClr val="FFFFFF"/>
                </a:solidFill>
                <a:latin typeface="+mn-lt"/>
              </a:rPr>
              <a:t>Arquitecto de Software</a:t>
            </a:r>
          </a:p>
        </p:txBody>
      </p:sp>
      <p:sp>
        <p:nvSpPr>
          <p:cNvPr id="50" name="Rectangle 30"/>
          <p:cNvSpPr>
            <a:spLocks noChangeArrowheads="1"/>
          </p:cNvSpPr>
          <p:nvPr/>
        </p:nvSpPr>
        <p:spPr bwMode="auto">
          <a:xfrm>
            <a:off x="730988" y="3738505"/>
            <a:ext cx="1845206" cy="33900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36000" tIns="36000" rIns="36000" bIns="36000" anchor="ctr">
            <a:noAutofit/>
          </a:bodyPr>
          <a:lstStyle/>
          <a:p>
            <a:pPr algn="ctr">
              <a:spcBef>
                <a:spcPct val="80000"/>
              </a:spcBef>
              <a:buClr>
                <a:srgbClr val="000000"/>
              </a:buClr>
              <a:buSzPct val="80000"/>
              <a:buFont typeface="Wingdings" pitchFamily="2" charset="2"/>
              <a:buNone/>
            </a:pPr>
            <a:r>
              <a:rPr lang="es-UY" sz="900" dirty="0" smtClean="0">
                <a:solidFill>
                  <a:srgbClr val="000000"/>
                </a:solidFill>
                <a:latin typeface="+mn-lt"/>
              </a:rPr>
              <a:t>Desarrollador</a:t>
            </a:r>
          </a:p>
        </p:txBody>
      </p:sp>
      <p:cxnSp>
        <p:nvCxnSpPr>
          <p:cNvPr id="51" name="Elbow Connector 50"/>
          <p:cNvCxnSpPr>
            <a:stCxn id="50" idx="3"/>
          </p:cNvCxnSpPr>
          <p:nvPr/>
        </p:nvCxnSpPr>
        <p:spPr>
          <a:xfrm flipV="1">
            <a:off x="2576194" y="3908007"/>
            <a:ext cx="1965205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46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30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7675553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5915099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4000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6528120" y="2090251"/>
            <a:ext cx="2112291" cy="1982635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2634801" y="1840230"/>
            <a:ext cx="2241396" cy="2241396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4689562" y="3199234"/>
            <a:ext cx="1957093" cy="1956119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271542" y="2837821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Introducció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705984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3195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5396503" y="3684855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Visión General del Proyect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795158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324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7228631" y="2899323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prstClr val="white"/>
                </a:solidFill>
                <a:latin typeface="Verdana"/>
              </a:rPr>
              <a:t>Entendimiento </a:t>
            </a:r>
          </a:p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del Negocio</a:t>
            </a:r>
            <a:endParaRPr lang="en-US" sz="9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596806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7144257" y="2521724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8200125" y="3685227"/>
            <a:ext cx="1769877" cy="1768998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27619" y="4366815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Verdana"/>
              </a:rPr>
              <a:t>Próximos Paso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200125" y="3970013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Verdana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8736179" y="4028467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1910536" y="364217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Footer Placeholder 4"/>
          <p:cNvSpPr txBox="1">
            <a:spLocks/>
          </p:cNvSpPr>
          <p:nvPr/>
        </p:nvSpPr>
        <p:spPr>
          <a:xfrm>
            <a:off x="1894114" y="6448779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81056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822362"/>
            <a:ext cx="9163050" cy="757255"/>
          </a:xfrm>
        </p:spPr>
        <p:txBody>
          <a:bodyPr/>
          <a:lstStyle/>
          <a:p>
            <a:r>
              <a:rPr lang="en-US" sz="1400" b="1" dirty="0" smtClean="0"/>
              <a:t>Johnson &amp; Johnson de Venezuela, 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licitado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 Deloitte la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sentación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a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puesta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e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rvicios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emplando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cance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tivos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odología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y </a:t>
            </a:r>
            <a:r>
              <a:rPr lang="en-US" sz="1400" noProof="0" dirty="0" err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diciones</a:t>
            </a:r>
            <a:r>
              <a:rPr lang="en-US" sz="1400" noProof="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lang="en-US" sz="1400" noProof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men</a:t>
            </a:r>
            <a:r>
              <a:rPr lang="en-US" noProof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jecutivo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69901" y="1960047"/>
            <a:ext cx="9163050" cy="790464"/>
            <a:chOff x="1188490" y="2111690"/>
            <a:chExt cx="7416000" cy="790464"/>
          </a:xfrm>
        </p:grpSpPr>
        <p:sp>
          <p:nvSpPr>
            <p:cNvPr id="12" name="TextBox 11"/>
            <p:cNvSpPr txBox="1"/>
            <p:nvPr/>
          </p:nvSpPr>
          <p:spPr>
            <a:xfrm>
              <a:off x="1188490" y="2137590"/>
              <a:ext cx="74160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l objetivo de esta propuesta es la </a:t>
              </a:r>
              <a:r>
                <a:rPr lang="en-US" sz="1400" b="1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</a:t>
              </a:r>
              <a:r>
                <a:rPr lang="en-US" sz="1400" b="1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plementación</a:t>
              </a:r>
              <a:r>
                <a:rPr lang="en-US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de SAP </a:t>
              </a:r>
              <a:r>
                <a:rPr lang="en-US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 </a:t>
              </a:r>
              <a:r>
                <a:rPr lang="en-US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ne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b="1" dirty="0" smtClean="0"/>
                <a:t>Johnson &amp; Johnson de Venezuela </a:t>
              </a:r>
              <a:r>
                <a:rPr lang="en-US" sz="1400" dirty="0" smtClean="0"/>
                <a:t>y</a:t>
              </a:r>
              <a:r>
                <a:rPr lang="en-US" sz="1400" b="1" dirty="0" smtClean="0"/>
                <a:t> </a:t>
              </a:r>
              <a:r>
                <a:rPr lang="en-US" sz="1400" b="1" dirty="0"/>
                <a:t>Janssen </a:t>
              </a:r>
              <a:r>
                <a:rPr lang="en-US" sz="1400" b="1" dirty="0" err="1" smtClean="0"/>
                <a:t>Cilag</a:t>
              </a:r>
              <a:r>
                <a:rPr lang="en-US" sz="1400" b="1" dirty="0" smtClean="0"/>
                <a:t> C.A.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iguiendo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los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ineamiento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écnico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y las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sideracione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conómica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scritas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en la </a:t>
              </a:r>
              <a:r>
                <a:rPr lang="en-US" sz="1400" dirty="0" err="1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isma</a:t>
              </a:r>
              <a:r>
                <a:rPr lang="en-US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.</a:t>
              </a:r>
              <a:endPara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188490" y="2111690"/>
              <a:ext cx="7416000" cy="79046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VE"/>
            </a:p>
          </p:txBody>
        </p:sp>
      </p:grpSp>
      <p:sp>
        <p:nvSpPr>
          <p:cNvPr id="14" name="Content Placeholder 7"/>
          <p:cNvSpPr txBox="1">
            <a:spLocks/>
          </p:cNvSpPr>
          <p:nvPr/>
        </p:nvSpPr>
        <p:spPr>
          <a:xfrm>
            <a:off x="430782" y="1594466"/>
            <a:ext cx="3853186" cy="330636"/>
          </a:xfrm>
          <a:prstGeom prst="rect">
            <a:avLst/>
          </a:prstGeom>
        </p:spPr>
        <p:txBody>
          <a:bodyPr lIns="36000" rIns="36000"/>
          <a:lstStyle>
            <a:defPPr>
              <a:defRPr lang="en-US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1pPr>
            <a:lvl2pPr marL="266700" indent="-266700">
              <a:spcBef>
                <a:spcPts val="1200"/>
              </a:spcBef>
              <a:buFont typeface="Arial" pitchFamily="34" charset="0"/>
              <a:buChar char="•"/>
              <a:defRPr>
                <a:solidFill>
                  <a:schemeClr val="tx2"/>
                </a:solidFill>
              </a:defRPr>
            </a:lvl2pPr>
            <a:lvl3pPr marL="266700" indent="-266700">
              <a:spcBef>
                <a:spcPts val="1200"/>
              </a:spcBef>
              <a:buFont typeface="Arial" pitchFamily="34" charset="0"/>
              <a:buChar char="•"/>
              <a:defRPr i="1">
                <a:solidFill>
                  <a:schemeClr val="tx2"/>
                </a:solidFill>
              </a:defRPr>
            </a:lvl3pPr>
            <a:lvl4pPr marL="539750" indent="-27305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4pPr>
            <a:lvl5pPr marL="806450" indent="-26670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VE" sz="1400" dirty="0" smtClean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tivos y alcance</a:t>
            </a:r>
            <a:endParaRPr lang="es-VE" sz="1400" dirty="0">
              <a:solidFill>
                <a:srgbClr val="86BC2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Content Placeholder 7"/>
          <p:cNvSpPr txBox="1">
            <a:spLocks/>
          </p:cNvSpPr>
          <p:nvPr/>
        </p:nvSpPr>
        <p:spPr>
          <a:xfrm>
            <a:off x="430782" y="3068960"/>
            <a:ext cx="3853186" cy="330636"/>
          </a:xfrm>
          <a:prstGeom prst="rect">
            <a:avLst/>
          </a:prstGeom>
        </p:spPr>
        <p:txBody>
          <a:bodyPr lIns="36000" rIns="36000"/>
          <a:lstStyle>
            <a:defPPr>
              <a:defRPr lang="en-US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1pPr>
            <a:lvl2pPr marL="266700" indent="-266700">
              <a:spcBef>
                <a:spcPts val="1200"/>
              </a:spcBef>
              <a:buFont typeface="Arial" pitchFamily="34" charset="0"/>
              <a:buChar char="•"/>
              <a:defRPr>
                <a:solidFill>
                  <a:schemeClr val="tx2"/>
                </a:solidFill>
              </a:defRPr>
            </a:lvl2pPr>
            <a:lvl3pPr marL="266700" indent="-266700">
              <a:spcBef>
                <a:spcPts val="1200"/>
              </a:spcBef>
              <a:buFont typeface="Arial" pitchFamily="34" charset="0"/>
              <a:buChar char="•"/>
              <a:defRPr i="1">
                <a:solidFill>
                  <a:schemeClr val="tx2"/>
                </a:solidFill>
              </a:defRPr>
            </a:lvl3pPr>
            <a:lvl4pPr marL="539750" indent="-27305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4pPr>
            <a:lvl5pPr marL="806450" indent="-26670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VE" sz="1400" dirty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foque metodológico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469901" y="3414443"/>
            <a:ext cx="9163050" cy="1169552"/>
            <a:chOff x="1188490" y="2294152"/>
            <a:chExt cx="7416000" cy="912714"/>
          </a:xfrm>
        </p:grpSpPr>
        <p:sp>
          <p:nvSpPr>
            <p:cNvPr id="17" name="TextBox 16"/>
            <p:cNvSpPr txBox="1"/>
            <p:nvPr/>
          </p:nvSpPr>
          <p:spPr>
            <a:xfrm>
              <a:off x="1188490" y="2294153"/>
              <a:ext cx="7416000" cy="9127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ara el desarrollo de este proyecto, se propone una metodología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ue </a:t>
              </a:r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sta de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inco </a:t>
              </a:r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ases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nsecutivas: </a:t>
              </a:r>
              <a:r>
                <a:rPr lang="es-MX" sz="1400" b="1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eparación 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icial,</a:t>
              </a:r>
              <a:r>
                <a:rPr lang="es-VE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 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siness </a:t>
              </a:r>
              <a:r>
                <a:rPr lang="es-MX" sz="1400" b="1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lueprint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Realización, Preparación Final y </a:t>
              </a:r>
              <a:r>
                <a:rPr lang="es-MX" sz="1400" b="1" dirty="0" err="1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oLive</a:t>
              </a:r>
              <a:r>
                <a:rPr lang="es-MX" sz="1400" b="1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&amp; Soporte</a:t>
              </a:r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para lo cual se estima que el equipo de trabajo propuesto estará dedicado </a:t>
              </a:r>
              <a:r>
                <a:rPr lang="es-VE" sz="14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urante dieciocho (18) semanas para los escenarios sin producción y (20) semanas para los escenarios con producción, en la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alización de estas actividades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.</a:t>
              </a:r>
              <a:endPara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188490" y="2294152"/>
              <a:ext cx="7416000" cy="906700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VE"/>
            </a:p>
          </p:txBody>
        </p:sp>
      </p:grpSp>
      <p:sp>
        <p:nvSpPr>
          <p:cNvPr id="19" name="Content Placeholder 7"/>
          <p:cNvSpPr txBox="1">
            <a:spLocks/>
          </p:cNvSpPr>
          <p:nvPr/>
        </p:nvSpPr>
        <p:spPr>
          <a:xfrm>
            <a:off x="430782" y="4785992"/>
            <a:ext cx="3853186" cy="330636"/>
          </a:xfrm>
          <a:prstGeom prst="rect">
            <a:avLst/>
          </a:prstGeom>
        </p:spPr>
        <p:txBody>
          <a:bodyPr lIns="36000" rIns="36000"/>
          <a:lstStyle>
            <a:defPPr>
              <a:defRPr lang="en-US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accent1"/>
                </a:solidFill>
              </a:defRPr>
            </a:lvl1pPr>
            <a:lvl2pPr marL="266700" indent="-266700">
              <a:spcBef>
                <a:spcPts val="1200"/>
              </a:spcBef>
              <a:buFont typeface="Arial" pitchFamily="34" charset="0"/>
              <a:buChar char="•"/>
              <a:defRPr>
                <a:solidFill>
                  <a:schemeClr val="tx2"/>
                </a:solidFill>
              </a:defRPr>
            </a:lvl2pPr>
            <a:lvl3pPr marL="266700" indent="-266700">
              <a:spcBef>
                <a:spcPts val="1200"/>
              </a:spcBef>
              <a:buFont typeface="Arial" pitchFamily="34" charset="0"/>
              <a:buChar char="•"/>
              <a:defRPr i="1">
                <a:solidFill>
                  <a:schemeClr val="tx2"/>
                </a:solidFill>
              </a:defRPr>
            </a:lvl3pPr>
            <a:lvl4pPr marL="539750" indent="-27305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4pPr>
            <a:lvl5pPr marL="806450" indent="-266700">
              <a:spcBef>
                <a:spcPts val="1200"/>
              </a:spcBef>
              <a:buFont typeface="Arial" pitchFamily="34" charset="0"/>
              <a:buChar char="−"/>
              <a:defRPr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VE" sz="1400" dirty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quipo de trabajo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69901" y="5116628"/>
            <a:ext cx="9163050" cy="790464"/>
            <a:chOff x="1188490" y="2160799"/>
            <a:chExt cx="7416000" cy="790464"/>
          </a:xfrm>
        </p:grpSpPr>
        <p:sp>
          <p:nvSpPr>
            <p:cNvPr id="21" name="TextBox 20"/>
            <p:cNvSpPr txBox="1"/>
            <p:nvPr/>
          </p:nvSpPr>
          <p:spPr>
            <a:xfrm>
              <a:off x="1188490" y="2241172"/>
              <a:ext cx="741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VE" sz="1400" dirty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l equipo de trabajo propuesto para este proyecto está conformado por un Socio responsable, un Gerente de Proyecto y </a:t>
              </a:r>
              <a:r>
                <a:rPr lang="es-VE" sz="1400" dirty="0" smtClean="0">
                  <a:solidFill>
                    <a:srgbClr val="31313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res Consultores de implementación.</a:t>
              </a:r>
              <a:endParaRPr lang="es-VE" sz="1400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188490" y="2160799"/>
              <a:ext cx="7416000" cy="790464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VE"/>
            </a:p>
          </p:txBody>
        </p:sp>
      </p:grpSp>
      <p:sp>
        <p:nvSpPr>
          <p:cNvPr id="34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35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479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0" y="1115315"/>
            <a:ext cx="9397113" cy="929709"/>
          </a:xfrm>
        </p:spPr>
        <p:txBody>
          <a:bodyPr/>
          <a:lstStyle/>
          <a:p>
            <a:pPr algn="just"/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gún la información general facilitada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</a:t>
            </a:r>
            <a:r>
              <a:rPr lang="en-US" sz="1400" b="1" dirty="0"/>
              <a:t> Johnson &amp; Johnson de Venezuela </a:t>
            </a:r>
            <a:r>
              <a:rPr lang="en-US" sz="1400" b="1" dirty="0" smtClean="0"/>
              <a:t>y </a:t>
            </a:r>
            <a:r>
              <a:rPr lang="en-US" sz="1400" b="1" dirty="0"/>
              <a:t>Janssen </a:t>
            </a:r>
            <a:r>
              <a:rPr lang="en-US" sz="1400" b="1" dirty="0" err="1" smtClean="0"/>
              <a:t>Cilag</a:t>
            </a:r>
            <a:r>
              <a:rPr lang="en-US" sz="1400" b="1" dirty="0" smtClean="0"/>
              <a:t> C.A.</a:t>
            </a:r>
            <a:r>
              <a:rPr lang="es-VE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lang="es-VE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VE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eñó un enfoque para la implementación del sistema SAP Business </a:t>
            </a:r>
            <a:r>
              <a:rPr lang="es-VE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</a:t>
            </a:r>
            <a:r>
              <a:rPr lang="es-V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orientado a proveer una solución integral a las necesidades planteadas</a:t>
            </a:r>
            <a:r>
              <a:rPr lang="es-VE" sz="1600" dirty="0"/>
              <a:t>.</a:t>
            </a:r>
          </a:p>
          <a:p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Implementación SAP Business </a:t>
            </a:r>
            <a:r>
              <a:rPr lang="es-VE" dirty="0" err="1" smtClean="0"/>
              <a:t>One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foque Metodológic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15517" y="2515709"/>
            <a:ext cx="1620180" cy="1147627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395302" y="3021138"/>
            <a:ext cx="1485165" cy="35714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Ejecución y  Certificación de Pruebas</a:t>
            </a:r>
            <a:endParaRPr lang="es-MX" altLang="ja-JP" sz="900" kern="0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2705939" y="3033265"/>
            <a:ext cx="1540937" cy="40504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nálisis y diseño de la solución B1</a:t>
            </a:r>
            <a:endParaRPr lang="es-MX" altLang="ja-JP" sz="900" kern="0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1057480" y="6025550"/>
            <a:ext cx="1524213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Declaración de Alcance /Plan de Trabajo</a:t>
            </a:r>
            <a:endParaRPr lang="es-MX" altLang="ja-JP" sz="900" b="1" kern="0" dirty="0"/>
          </a:p>
        </p:txBody>
      </p:sp>
      <p:sp>
        <p:nvSpPr>
          <p:cNvPr id="20" name="AutoShape 11"/>
          <p:cNvSpPr>
            <a:spLocks noChangeArrowheads="1"/>
          </p:cNvSpPr>
          <p:nvPr/>
        </p:nvSpPr>
        <p:spPr bwMode="auto">
          <a:xfrm>
            <a:off x="961513" y="1892052"/>
            <a:ext cx="1772595" cy="576263"/>
          </a:xfrm>
          <a:prstGeom prst="homePlate">
            <a:avLst>
              <a:gd name="adj" fmla="val 2647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reparación Inicial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2716705" y="3528321"/>
            <a:ext cx="1540800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/>
              <a:t>Diseño </a:t>
            </a:r>
            <a:r>
              <a:rPr lang="es-MX" altLang="ja-JP" sz="1000" kern="0" dirty="0" smtClean="0"/>
              <a:t>del modelo funcional futuro</a:t>
            </a:r>
            <a:endParaRPr lang="es-MX" altLang="ja-JP" sz="1000" kern="0" dirty="0"/>
          </a:p>
        </p:txBody>
      </p:sp>
      <p:sp>
        <p:nvSpPr>
          <p:cNvPr id="22" name="Rectangle 21"/>
          <p:cNvSpPr/>
          <p:nvPr/>
        </p:nvSpPr>
        <p:spPr bwMode="auto">
          <a:xfrm>
            <a:off x="2716706" y="4788461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Generación del Business </a:t>
            </a:r>
            <a:r>
              <a:rPr lang="es-MX" altLang="ja-JP" sz="900" kern="0" dirty="0" err="1" smtClean="0"/>
              <a:t>Blueprint</a:t>
            </a:r>
            <a:endParaRPr lang="es-MX" altLang="ja-JP" sz="900" kern="0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1051523" y="2583216"/>
            <a:ext cx="1530170" cy="4083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ja-JP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Entendimiento del </a:t>
            </a:r>
            <a:r>
              <a:rPr lang="es-MX" altLang="ja-JP" sz="1000" kern="0" noProof="0" dirty="0" smtClean="0"/>
              <a:t>M</a:t>
            </a:r>
            <a:r>
              <a:rPr kumimoji="0" lang="es-MX" altLang="ja-JP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odelo de </a:t>
            </a:r>
            <a:r>
              <a:rPr lang="es-MX" altLang="ja-JP" sz="1000" kern="0" dirty="0" smtClean="0"/>
              <a:t>Negocio</a:t>
            </a:r>
            <a:r>
              <a:rPr kumimoji="0" lang="es-MX" altLang="ja-JP" sz="10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endParaRPr kumimoji="0" lang="es-MX" altLang="ja-JP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4" name="AutoShape 13"/>
          <p:cNvSpPr>
            <a:spLocks noChangeArrowheads="1"/>
          </p:cNvSpPr>
          <p:nvPr/>
        </p:nvSpPr>
        <p:spPr bwMode="auto">
          <a:xfrm flipV="1">
            <a:off x="1051523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35" name="AutoShape 30"/>
          <p:cNvSpPr>
            <a:spLocks noChangeArrowheads="1"/>
          </p:cNvSpPr>
          <p:nvPr/>
        </p:nvSpPr>
        <p:spPr bwMode="auto">
          <a:xfrm>
            <a:off x="2639747" y="1885367"/>
            <a:ext cx="1755195" cy="585065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Business </a:t>
            </a:r>
            <a:r>
              <a:rPr kumimoji="0" lang="es-MX" sz="11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Blueprint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6" name="AutoShape 30"/>
          <p:cNvSpPr>
            <a:spLocks noChangeArrowheads="1"/>
          </p:cNvSpPr>
          <p:nvPr/>
        </p:nvSpPr>
        <p:spPr bwMode="auto">
          <a:xfrm>
            <a:off x="4300581" y="1885367"/>
            <a:ext cx="1710190" cy="576263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Realización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7" name="AutoShape 30"/>
          <p:cNvSpPr>
            <a:spLocks noChangeArrowheads="1"/>
          </p:cNvSpPr>
          <p:nvPr/>
        </p:nvSpPr>
        <p:spPr bwMode="auto">
          <a:xfrm>
            <a:off x="5916410" y="1885367"/>
            <a:ext cx="1620180" cy="576263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reparación Final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8" name="AutoShape 30"/>
          <p:cNvSpPr>
            <a:spLocks noChangeArrowheads="1"/>
          </p:cNvSpPr>
          <p:nvPr/>
        </p:nvSpPr>
        <p:spPr bwMode="auto">
          <a:xfrm>
            <a:off x="7442231" y="1885366"/>
            <a:ext cx="1620180" cy="576263"/>
          </a:xfrm>
          <a:prstGeom prst="chevron">
            <a:avLst>
              <a:gd name="adj" fmla="val 28587"/>
            </a:avLst>
          </a:prstGeom>
          <a:solidFill>
            <a:srgbClr val="86BC25"/>
          </a:solidFill>
          <a:ln w="6350" algn="ctr">
            <a:solidFill>
              <a:srgbClr val="8099CC"/>
            </a:solidFill>
            <a:miter lim="800000"/>
            <a:headEnd type="none" w="sm" len="sm"/>
            <a:tailEnd type="none" w="sm" len="sm"/>
          </a:ln>
        </p:spPr>
        <p:txBody>
          <a:bodyPr wrap="square" lIns="0" tIns="81577" rIns="0" bIns="81577" anchor="ctr"/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GoLive</a:t>
            </a: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&amp; Soporte</a:t>
            </a:r>
            <a:endParaRPr kumimoji="0" lang="es-MX" sz="11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1051523" y="3078271"/>
            <a:ext cx="1530169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 smtClean="0"/>
              <a:t>Revisión del alcance funcional</a:t>
            </a:r>
            <a:endParaRPr lang="es-MX" altLang="ja-JP" sz="1000" kern="0" dirty="0"/>
          </a:p>
        </p:txBody>
      </p:sp>
      <p:sp>
        <p:nvSpPr>
          <p:cNvPr id="40" name="Rectangle 39"/>
          <p:cNvSpPr/>
          <p:nvPr/>
        </p:nvSpPr>
        <p:spPr bwMode="auto">
          <a:xfrm>
            <a:off x="2806716" y="6048601"/>
            <a:ext cx="1434203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Business </a:t>
            </a:r>
            <a:r>
              <a:rPr lang="es-MX" altLang="ja-JP" sz="900" b="1" kern="0" dirty="0" err="1" smtClean="0"/>
              <a:t>Blueprint</a:t>
            </a:r>
            <a:endParaRPr lang="es-MX" altLang="ja-JP" sz="900" b="1" kern="0" dirty="0"/>
          </a:p>
        </p:txBody>
      </p:sp>
      <p:sp>
        <p:nvSpPr>
          <p:cNvPr id="41" name="AutoShape 13"/>
          <p:cNvSpPr>
            <a:spLocks noChangeArrowheads="1"/>
          </p:cNvSpPr>
          <p:nvPr/>
        </p:nvSpPr>
        <p:spPr bwMode="auto">
          <a:xfrm flipV="1">
            <a:off x="2716708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4381891" y="4383416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Ejecutar el script de pruebas integrales</a:t>
            </a:r>
            <a:endParaRPr lang="es-MX" altLang="ja-JP" sz="900" kern="0" dirty="0"/>
          </a:p>
        </p:txBody>
      </p:sp>
      <p:sp>
        <p:nvSpPr>
          <p:cNvPr id="43" name="Rectangle 42"/>
          <p:cNvSpPr/>
          <p:nvPr/>
        </p:nvSpPr>
        <p:spPr bwMode="auto">
          <a:xfrm>
            <a:off x="4381891" y="3933366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/>
              <a:t>V</a:t>
            </a:r>
            <a:r>
              <a:rPr lang="es-MX" altLang="ja-JP" sz="900" kern="0" dirty="0" smtClean="0"/>
              <a:t>alidar la calidad de la configuración (QA)</a:t>
            </a:r>
            <a:endParaRPr lang="es-MX" altLang="ja-JP" sz="900" kern="0" dirty="0"/>
          </a:p>
        </p:txBody>
      </p:sp>
      <p:cxnSp>
        <p:nvCxnSpPr>
          <p:cNvPr id="44" name="Straight Connector 43"/>
          <p:cNvCxnSpPr/>
          <p:nvPr/>
        </p:nvCxnSpPr>
        <p:spPr>
          <a:xfrm>
            <a:off x="1051523" y="5823576"/>
            <a:ext cx="810089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 bwMode="auto">
          <a:xfrm>
            <a:off x="4381893" y="6048601"/>
            <a:ext cx="1485165" cy="38309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Script de Pruebas Certificadas</a:t>
            </a:r>
            <a:endParaRPr lang="es-MX" altLang="ja-JP" sz="900" b="1" kern="0" dirty="0"/>
          </a:p>
        </p:txBody>
      </p:sp>
      <p:sp>
        <p:nvSpPr>
          <p:cNvPr id="48" name="AutoShape 13"/>
          <p:cNvSpPr>
            <a:spLocks noChangeArrowheads="1"/>
          </p:cNvSpPr>
          <p:nvPr/>
        </p:nvSpPr>
        <p:spPr bwMode="auto">
          <a:xfrm flipV="1">
            <a:off x="4381893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5946299" y="5328521"/>
            <a:ext cx="1540937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Entonar el sistema para la Salida en Vivo </a:t>
            </a:r>
            <a:endParaRPr lang="es-MX" altLang="ja-JP" sz="900" kern="0" dirty="0"/>
          </a:p>
        </p:txBody>
      </p:sp>
      <p:sp>
        <p:nvSpPr>
          <p:cNvPr id="50" name="Rectangle 49"/>
          <p:cNvSpPr/>
          <p:nvPr/>
        </p:nvSpPr>
        <p:spPr bwMode="auto">
          <a:xfrm>
            <a:off x="5946299" y="4875573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diestramiento de usuarios finales</a:t>
            </a:r>
            <a:endParaRPr lang="es-MX" altLang="ja-JP" sz="900" kern="0" dirty="0"/>
          </a:p>
        </p:txBody>
      </p:sp>
      <p:sp>
        <p:nvSpPr>
          <p:cNvPr id="51" name="Rectangle 50"/>
          <p:cNvSpPr/>
          <p:nvPr/>
        </p:nvSpPr>
        <p:spPr bwMode="auto">
          <a:xfrm>
            <a:off x="6002071" y="6048601"/>
            <a:ext cx="1485165" cy="3600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Plan Detallado para la Salida en Vivo</a:t>
            </a:r>
            <a:endParaRPr lang="es-MX" altLang="ja-JP" sz="900" b="1" kern="0" dirty="0"/>
          </a:p>
        </p:txBody>
      </p:sp>
      <p:sp>
        <p:nvSpPr>
          <p:cNvPr id="52" name="Rectangle 51"/>
          <p:cNvSpPr/>
          <p:nvPr/>
        </p:nvSpPr>
        <p:spPr bwMode="auto">
          <a:xfrm>
            <a:off x="7560936" y="4878471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Completar la puesta en producción de SAP B1</a:t>
            </a:r>
            <a:endParaRPr lang="es-MX" altLang="ja-JP" sz="900" kern="0" dirty="0"/>
          </a:p>
        </p:txBody>
      </p:sp>
      <p:sp>
        <p:nvSpPr>
          <p:cNvPr id="53" name="Rectangle 52"/>
          <p:cNvSpPr/>
          <p:nvPr/>
        </p:nvSpPr>
        <p:spPr bwMode="auto">
          <a:xfrm>
            <a:off x="7566479" y="5328521"/>
            <a:ext cx="1540937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probación para salir en vivo</a:t>
            </a:r>
            <a:endParaRPr lang="es-MX" altLang="ja-JP" sz="900" kern="0" dirty="0"/>
          </a:p>
        </p:txBody>
      </p:sp>
      <p:sp>
        <p:nvSpPr>
          <p:cNvPr id="54" name="Rectangle 53"/>
          <p:cNvSpPr/>
          <p:nvPr/>
        </p:nvSpPr>
        <p:spPr bwMode="auto">
          <a:xfrm>
            <a:off x="7611484" y="6048601"/>
            <a:ext cx="1540937" cy="35714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b="1" kern="0" dirty="0" smtClean="0"/>
              <a:t>Programación de soporte</a:t>
            </a:r>
            <a:endParaRPr lang="es-MX" altLang="ja-JP" sz="900" b="1" kern="0" dirty="0"/>
          </a:p>
        </p:txBody>
      </p:sp>
      <p:sp>
        <p:nvSpPr>
          <p:cNvPr id="55" name="Rectangle 54"/>
          <p:cNvSpPr/>
          <p:nvPr/>
        </p:nvSpPr>
        <p:spPr bwMode="auto">
          <a:xfrm>
            <a:off x="4381891" y="5328521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Demostración  y certificación del prototipo</a:t>
            </a:r>
            <a:endParaRPr lang="es-MX" altLang="ja-JP" sz="900" kern="0" dirty="0"/>
          </a:p>
        </p:txBody>
      </p:sp>
      <p:sp>
        <p:nvSpPr>
          <p:cNvPr id="56" name="Rectangle 55"/>
          <p:cNvSpPr/>
          <p:nvPr/>
        </p:nvSpPr>
        <p:spPr bwMode="auto">
          <a:xfrm>
            <a:off x="2716706" y="5283516"/>
            <a:ext cx="1485165" cy="4500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Aprobación del Business </a:t>
            </a:r>
            <a:r>
              <a:rPr lang="es-MX" altLang="ja-JP" sz="900" kern="0" dirty="0" err="1" smtClean="0"/>
              <a:t>Blueprint</a:t>
            </a:r>
            <a:endParaRPr lang="es-MX" altLang="ja-JP" sz="900" kern="0" dirty="0"/>
          </a:p>
        </p:txBody>
      </p:sp>
      <p:sp>
        <p:nvSpPr>
          <p:cNvPr id="57" name="Rectangle 56"/>
          <p:cNvSpPr/>
          <p:nvPr/>
        </p:nvSpPr>
        <p:spPr bwMode="auto">
          <a:xfrm>
            <a:off x="7561545" y="4425523"/>
            <a:ext cx="1540937" cy="40794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Configuración de saldos iniciales en el sistema</a:t>
            </a:r>
            <a:endParaRPr lang="es-MX" altLang="ja-JP" sz="900" kern="0" dirty="0"/>
          </a:p>
        </p:txBody>
      </p:sp>
      <p:sp>
        <p:nvSpPr>
          <p:cNvPr id="58" name="Rectangle 57"/>
          <p:cNvSpPr/>
          <p:nvPr/>
        </p:nvSpPr>
        <p:spPr bwMode="auto">
          <a:xfrm>
            <a:off x="2705939" y="2538211"/>
            <a:ext cx="1540937" cy="4082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900" kern="0" dirty="0" smtClean="0"/>
              <a:t>Levantamiento de Información  (Procesos)</a:t>
            </a:r>
            <a:endParaRPr kumimoji="0" lang="es-MX" altLang="ja-JP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4381891" y="2538211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 smtClean="0"/>
              <a:t>Configuración del sistema B1</a:t>
            </a:r>
            <a:endParaRPr lang="es-MX" altLang="ja-JP" sz="1000" kern="0" dirty="0"/>
          </a:p>
        </p:txBody>
      </p:sp>
      <p:sp>
        <p:nvSpPr>
          <p:cNvPr id="60" name="Rectangle 59"/>
          <p:cNvSpPr/>
          <p:nvPr/>
        </p:nvSpPr>
        <p:spPr>
          <a:xfrm>
            <a:off x="4327885" y="2511360"/>
            <a:ext cx="1620000" cy="1016961"/>
          </a:xfrm>
          <a:prstGeom prst="rect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4381891" y="4878471"/>
            <a:ext cx="1485165" cy="40504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1577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9"/>
              </a:spcAft>
              <a:buClrTx/>
              <a:buSzTx/>
              <a:buFontTx/>
              <a:buNone/>
              <a:tabLst/>
              <a:defRPr/>
            </a:pPr>
            <a:r>
              <a:rPr lang="es-MX" altLang="ja-JP" sz="1000" kern="0" dirty="0" smtClean="0"/>
              <a:t>Ejecutar cambios en B1</a:t>
            </a:r>
            <a:endParaRPr lang="es-MX" altLang="ja-JP" sz="1000" kern="0" dirty="0"/>
          </a:p>
        </p:txBody>
      </p:sp>
      <p:sp>
        <p:nvSpPr>
          <p:cNvPr id="62" name="AutoShape 13"/>
          <p:cNvSpPr>
            <a:spLocks noChangeArrowheads="1"/>
          </p:cNvSpPr>
          <p:nvPr/>
        </p:nvSpPr>
        <p:spPr bwMode="auto">
          <a:xfrm flipV="1">
            <a:off x="5957068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63" name="AutoShape 13"/>
          <p:cNvSpPr>
            <a:spLocks noChangeArrowheads="1"/>
          </p:cNvSpPr>
          <p:nvPr/>
        </p:nvSpPr>
        <p:spPr bwMode="auto">
          <a:xfrm flipV="1">
            <a:off x="7611484" y="5868581"/>
            <a:ext cx="1575175" cy="90010"/>
          </a:xfrm>
          <a:prstGeom prst="triangle">
            <a:avLst>
              <a:gd name="adj" fmla="val 50000"/>
            </a:avLst>
          </a:prstGeom>
          <a:solidFill>
            <a:srgbClr val="FFFFFF">
              <a:lumMod val="85000"/>
            </a:srgbClr>
          </a:solidFill>
          <a:ln w="6350" algn="ctr">
            <a:solidFill>
              <a:srgbClr val="FFFFFF">
                <a:lumMod val="8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90901" tIns="90901" rIns="90901" bIns="90901" anchor="ctr"/>
          <a:lstStyle/>
          <a:p>
            <a:pPr marL="0" marR="0" lvl="0" indent="0" defTabSz="908927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64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65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63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291665"/>
            <a:ext cx="9163050" cy="537978"/>
          </a:xfrm>
        </p:spPr>
        <p:txBody>
          <a:bodyPr/>
          <a:lstStyle/>
          <a:p>
            <a:pPr eaLnBrk="0" hangingPunct="0">
              <a:spcAft>
                <a:spcPts val="300"/>
              </a:spcAft>
              <a:defRPr/>
            </a:pPr>
            <a:r>
              <a:rPr lang="en-US" sz="1400" dirty="0"/>
              <a:t>A </a:t>
            </a:r>
            <a:r>
              <a:rPr lang="en-US" sz="1400" dirty="0" err="1"/>
              <a:t>continuación</a:t>
            </a:r>
            <a:r>
              <a:rPr lang="en-US" sz="1400" dirty="0"/>
              <a:t> se </a:t>
            </a:r>
            <a:r>
              <a:rPr lang="en-US" sz="1400" dirty="0" err="1"/>
              <a:t>muestra</a:t>
            </a:r>
            <a:r>
              <a:rPr lang="en-US" sz="1400" dirty="0"/>
              <a:t> el plan de </a:t>
            </a:r>
            <a:r>
              <a:rPr lang="en-US" sz="1400" dirty="0" err="1"/>
              <a:t>Implementación</a:t>
            </a:r>
            <a:r>
              <a:rPr lang="en-US" sz="1400" dirty="0"/>
              <a:t> de SAP Business One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b="1" dirty="0"/>
              <a:t>Johnson &amp; Johnson de Venezuela </a:t>
            </a:r>
            <a:r>
              <a:rPr lang="en-US" sz="1400" b="1" dirty="0" smtClean="0"/>
              <a:t>(</a:t>
            </a:r>
            <a:r>
              <a:rPr lang="en-US" sz="1400" b="1" dirty="0" err="1"/>
              <a:t>E</a:t>
            </a:r>
            <a:r>
              <a:rPr lang="en-US" sz="1400" b="1" dirty="0" err="1" smtClean="0"/>
              <a:t>scenario</a:t>
            </a:r>
            <a:r>
              <a:rPr lang="en-US" sz="1400" b="1" dirty="0" smtClean="0"/>
              <a:t> 2: 20 </a:t>
            </a:r>
            <a:r>
              <a:rPr lang="en-US" sz="1400" b="1" dirty="0" err="1" smtClean="0"/>
              <a:t>semanas</a:t>
            </a:r>
            <a:r>
              <a:rPr lang="en-US" sz="1400" b="1" dirty="0" smtClean="0"/>
              <a:t>)</a:t>
            </a:r>
            <a:endParaRPr lang="es-V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VE" dirty="0" smtClean="0"/>
              <a:t>Plan de Proyecto</a:t>
            </a:r>
            <a:endParaRPr lang="es-V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quipo y Plan de Trabajo</a:t>
            </a:r>
            <a:endParaRPr lang="es-V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17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9901" y="5582134"/>
            <a:ext cx="8785654" cy="800219"/>
          </a:xfrm>
          <a:prstGeom prst="rect">
            <a:avLst/>
          </a:prstGeom>
          <a:noFill/>
        </p:spPr>
        <p:txBody>
          <a:bodyPr wrap="square" lIns="0" tIns="0" rIns="0" bIns="0" numCol="2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VE" sz="1400" dirty="0" smtClean="0">
                <a:solidFill>
                  <a:srgbClr val="313131"/>
                </a:solidFill>
              </a:rPr>
              <a:t>Preparación Inicial: 1 semana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VE" sz="1400" dirty="0" smtClean="0">
                <a:solidFill>
                  <a:srgbClr val="313131"/>
                </a:solidFill>
              </a:rPr>
              <a:t>Business </a:t>
            </a:r>
            <a:r>
              <a:rPr lang="es-VE" sz="1400" dirty="0" err="1" smtClean="0">
                <a:solidFill>
                  <a:srgbClr val="313131"/>
                </a:solidFill>
              </a:rPr>
              <a:t>Blueprint</a:t>
            </a:r>
            <a:r>
              <a:rPr lang="es-VE" sz="1400" dirty="0" smtClean="0">
                <a:solidFill>
                  <a:srgbClr val="313131"/>
                </a:solidFill>
              </a:rPr>
              <a:t>: </a:t>
            </a:r>
            <a:r>
              <a:rPr lang="es-VE" sz="1400" dirty="0">
                <a:solidFill>
                  <a:srgbClr val="313131"/>
                </a:solidFill>
              </a:rPr>
              <a:t>3</a:t>
            </a:r>
            <a:r>
              <a:rPr lang="es-VE" sz="1400" dirty="0" smtClean="0">
                <a:solidFill>
                  <a:srgbClr val="313131"/>
                </a:solidFill>
              </a:rPr>
              <a:t> semana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VE" sz="1400" dirty="0" smtClean="0">
                <a:solidFill>
                  <a:srgbClr val="313131"/>
                </a:solidFill>
              </a:rPr>
              <a:t>Realización: 11 semana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VE" sz="1400" dirty="0" smtClean="0">
                <a:solidFill>
                  <a:srgbClr val="313131"/>
                </a:solidFill>
              </a:rPr>
              <a:t>Preparación final: </a:t>
            </a:r>
            <a:r>
              <a:rPr lang="es-VE" sz="1400" dirty="0">
                <a:solidFill>
                  <a:srgbClr val="313131"/>
                </a:solidFill>
              </a:rPr>
              <a:t>3</a:t>
            </a:r>
            <a:r>
              <a:rPr lang="es-VE" sz="1400" dirty="0" smtClean="0">
                <a:solidFill>
                  <a:srgbClr val="313131"/>
                </a:solidFill>
              </a:rPr>
              <a:t> semana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VE" sz="1400" dirty="0" err="1" smtClean="0">
                <a:solidFill>
                  <a:srgbClr val="313131"/>
                </a:solidFill>
              </a:rPr>
              <a:t>GoLive</a:t>
            </a:r>
            <a:r>
              <a:rPr lang="es-VE" sz="1400" dirty="0" smtClean="0">
                <a:solidFill>
                  <a:srgbClr val="313131"/>
                </a:solidFill>
              </a:rPr>
              <a:t> y Soporte: 2 semana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s-VE" sz="1400" dirty="0" smtClean="0">
                <a:solidFill>
                  <a:srgbClr val="313131"/>
                </a:solidFill>
              </a:rPr>
              <a:t>Total: </a:t>
            </a:r>
            <a:r>
              <a:rPr lang="es-VE" sz="1400" b="1" dirty="0" smtClean="0">
                <a:solidFill>
                  <a:srgbClr val="313131"/>
                </a:solidFill>
              </a:rPr>
              <a:t>20 semana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2190" t="21797" r="14233" b="9193"/>
          <a:stretch/>
        </p:blipFill>
        <p:spPr>
          <a:xfrm>
            <a:off x="882646" y="1884934"/>
            <a:ext cx="7960164" cy="369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79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3"/>
          <p:cNvSpPr/>
          <p:nvPr/>
        </p:nvSpPr>
        <p:spPr>
          <a:xfrm rot="13266881">
            <a:off x="7675553" y="3143918"/>
            <a:ext cx="1173179" cy="1344110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2" name="Rectangle 13"/>
          <p:cNvSpPr/>
          <p:nvPr/>
        </p:nvSpPr>
        <p:spPr>
          <a:xfrm rot="9073758">
            <a:off x="5915099" y="2971874"/>
            <a:ext cx="1224381" cy="1402772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3" name="Rectangle 13"/>
          <p:cNvSpPr/>
          <p:nvPr/>
        </p:nvSpPr>
        <p:spPr>
          <a:xfrm rot="2024838">
            <a:off x="4000039" y="2840262"/>
            <a:ext cx="1611666" cy="1659646"/>
          </a:xfrm>
          <a:custGeom>
            <a:avLst/>
            <a:gdLst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  <a:gd name="connsiteX0" fmla="*/ 0 w 1877923"/>
              <a:gd name="connsiteY0" fmla="*/ 0 h 1102580"/>
              <a:gd name="connsiteX1" fmla="*/ 1877923 w 1877923"/>
              <a:gd name="connsiteY1" fmla="*/ 0 h 1102580"/>
              <a:gd name="connsiteX2" fmla="*/ 1877923 w 1877923"/>
              <a:gd name="connsiteY2" fmla="*/ 1102580 h 1102580"/>
              <a:gd name="connsiteX3" fmla="*/ 0 w 1877923"/>
              <a:gd name="connsiteY3" fmla="*/ 1102580 h 1102580"/>
              <a:gd name="connsiteX4" fmla="*/ 0 w 1877923"/>
              <a:gd name="connsiteY4" fmla="*/ 0 h 110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7923" h="1102580">
                <a:moveTo>
                  <a:pt x="0" y="0"/>
                </a:moveTo>
                <a:cubicBezTo>
                  <a:pt x="801540" y="212142"/>
                  <a:pt x="1156851" y="160934"/>
                  <a:pt x="1877923" y="0"/>
                </a:cubicBezTo>
                <a:lnTo>
                  <a:pt x="1877923" y="1102580"/>
                </a:lnTo>
                <a:cubicBezTo>
                  <a:pt x="1193427" y="883124"/>
                  <a:pt x="625974" y="912385"/>
                  <a:pt x="0" y="110258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6528120" y="2090251"/>
            <a:ext cx="2112291" cy="1982635"/>
          </a:xfrm>
          <a:prstGeom prst="ellipse">
            <a:avLst/>
          </a:prstGeom>
          <a:solidFill>
            <a:srgbClr val="86BC25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2634801" y="1840230"/>
            <a:ext cx="2241396" cy="2241396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4689562" y="3199234"/>
            <a:ext cx="1957093" cy="1956119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srgbClr val="44546A"/>
              </a:solidFill>
              <a:latin typeface="Verdana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271542" y="2837821"/>
            <a:ext cx="1325805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Introducció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705984" y="2416745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1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3195341" y="2236290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5396503" y="3684855"/>
            <a:ext cx="1034476" cy="98488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Visión General del Proyect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795158" y="363310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2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324503" y="3452654"/>
            <a:ext cx="0" cy="1449276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3" name="Rectangle 32"/>
          <p:cNvSpPr/>
          <p:nvPr/>
        </p:nvSpPr>
        <p:spPr>
          <a:xfrm>
            <a:off x="7228631" y="2899323"/>
            <a:ext cx="1374835" cy="4616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prstClr val="white"/>
                </a:solidFill>
                <a:latin typeface="Verdana"/>
              </a:rPr>
              <a:t>Entendimiento </a:t>
            </a:r>
          </a:p>
          <a:p>
            <a:r>
              <a:rPr lang="en-US" sz="1600" dirty="0">
                <a:solidFill>
                  <a:prstClr val="white"/>
                </a:solidFill>
                <a:latin typeface="Verdana"/>
              </a:rPr>
              <a:t>del Negocio</a:t>
            </a:r>
            <a:endParaRPr lang="en-US" sz="90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596806" y="2581719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prstClr val="white"/>
                </a:solidFill>
                <a:latin typeface="Verdana"/>
              </a:rPr>
              <a:t>3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7144257" y="2521724"/>
            <a:ext cx="0" cy="1355021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36" name="Oval 35"/>
          <p:cNvSpPr>
            <a:spLocks noChangeAspect="1"/>
          </p:cNvSpPr>
          <p:nvPr/>
        </p:nvSpPr>
        <p:spPr>
          <a:xfrm>
            <a:off x="8200125" y="3685227"/>
            <a:ext cx="1769877" cy="1768998"/>
          </a:xfrm>
          <a:prstGeom prst="ellipse">
            <a:avLst/>
          </a:prstGeom>
          <a:solidFill>
            <a:srgbClr val="002060"/>
          </a:solidFill>
          <a:ln w="6350" cap="flat" cmpd="sng" algn="ctr">
            <a:noFill/>
            <a:prstDash val="solid"/>
          </a:ln>
          <a:effectLst/>
        </p:spPr>
        <p:txBody>
          <a:bodyPr lIns="91440" tIns="91440" rIns="91440" bIns="91440" rtlCol="0" anchor="ctr">
            <a:noAutofit/>
          </a:bodyPr>
          <a:lstStyle/>
          <a:p>
            <a:pPr algn="ctr">
              <a:defRPr/>
            </a:pPr>
            <a:endParaRPr lang="en-US" sz="1400" kern="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827619" y="4366815"/>
            <a:ext cx="1020066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Verdana"/>
              </a:rPr>
              <a:t>Próximos Paso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200125" y="3970013"/>
            <a:ext cx="631825" cy="108836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Verdana"/>
              </a:rPr>
              <a:t>4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8736179" y="4028467"/>
            <a:ext cx="0" cy="971461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headEnd type="none"/>
            <a:tailEnd type="none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1910536" y="364217"/>
            <a:ext cx="8423275" cy="478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VE" sz="2800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en-US" sz="2800" kern="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Footer Placeholder 4"/>
          <p:cNvSpPr txBox="1">
            <a:spLocks/>
          </p:cNvSpPr>
          <p:nvPr/>
        </p:nvSpPr>
        <p:spPr>
          <a:xfrm>
            <a:off x="1894114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35830" rtl="0" eaLnBrk="1" latinLnBrk="0" hangingPunct="1">
              <a:defRPr sz="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91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583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374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7166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9575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490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5404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3319" algn="l" defTabSz="935830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©2019 Deloitte </a:t>
            </a:r>
            <a:r>
              <a:rPr lang="en-US" dirty="0" err="1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uche</a:t>
            </a:r>
            <a:r>
              <a:rPr lang="en-US" dirty="0">
                <a:solidFill>
                  <a:srgbClr val="31313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ohmatsu Limite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21849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69901" y="1449419"/>
            <a:ext cx="9163050" cy="3801974"/>
          </a:xfrm>
        </p:spPr>
        <p:txBody>
          <a:bodyPr/>
          <a:lstStyle/>
          <a:p>
            <a:pPr algn="just"/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Johnson &amp; Johnson de Venezuela,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es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una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mpañía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diversificada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en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el campo de la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salud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, con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sectores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independientes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erfectamente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desarrollados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r>
              <a:rPr lang="en-US" sz="1400" dirty="0" err="1" smtClean="0">
                <a:ea typeface="Verdana" panose="020B0604030504040204" pitchFamily="34" charset="0"/>
              </a:rPr>
              <a:t>Nace</a:t>
            </a:r>
            <a:r>
              <a:rPr lang="en-US" sz="1400" dirty="0" smtClean="0">
                <a:ea typeface="Verdana" panose="020B0604030504040204" pitchFamily="34" charset="0"/>
              </a:rPr>
              <a:t> </a:t>
            </a:r>
            <a:r>
              <a:rPr lang="es-VE" sz="1400" dirty="0"/>
              <a:t>e</a:t>
            </a:r>
            <a:r>
              <a:rPr lang="es-VE" sz="1400" dirty="0" smtClean="0"/>
              <a:t>n </a:t>
            </a:r>
            <a:r>
              <a:rPr lang="es-VE" sz="1400" dirty="0"/>
              <a:t>1886 </a:t>
            </a:r>
            <a:r>
              <a:rPr lang="es-VE" sz="1400" dirty="0" smtClean="0"/>
              <a:t>por </a:t>
            </a:r>
            <a:r>
              <a:rPr lang="es-VE" sz="1400" dirty="0"/>
              <a:t>Johnson &amp; Johnson en New Brunswick (New Jersey</a:t>
            </a:r>
            <a:r>
              <a:rPr lang="es-VE" sz="1400" dirty="0" smtClean="0"/>
              <a:t>), </a:t>
            </a:r>
            <a:r>
              <a:rPr lang="es-VE" sz="1400" dirty="0"/>
              <a:t>Estados </a:t>
            </a:r>
            <a:r>
              <a:rPr lang="es-VE" sz="1400" dirty="0" smtClean="0"/>
              <a:t>Unidos. </a:t>
            </a:r>
            <a:r>
              <a:rPr lang="en-US" sz="1400" dirty="0" err="1" smtClean="0">
                <a:ea typeface="Verdana" panose="020B0604030504040204" pitchFamily="34" charset="0"/>
              </a:rPr>
              <a:t>Actualmente</a:t>
            </a:r>
            <a:r>
              <a:rPr lang="en-US" sz="1400" dirty="0" smtClean="0">
                <a:ea typeface="Verdana" panose="020B0604030504040204" pitchFamily="34" charset="0"/>
              </a:rPr>
              <a:t>, </a:t>
            </a:r>
            <a:r>
              <a:rPr lang="en-US" sz="1400" dirty="0" err="1" smtClean="0">
                <a:ea typeface="Verdana" panose="020B0604030504040204" pitchFamily="34" charset="0"/>
              </a:rPr>
              <a:t>cuenta</a:t>
            </a:r>
            <a:r>
              <a:rPr lang="en-US" sz="1400" dirty="0" smtClean="0">
                <a:ea typeface="Verdana" panose="020B0604030504040204" pitchFamily="34" charset="0"/>
              </a:rPr>
              <a:t> con 230 </a:t>
            </a:r>
            <a:r>
              <a:rPr lang="en-US" sz="1400" dirty="0" err="1" smtClean="0">
                <a:ea typeface="Verdana" panose="020B0604030504040204" pitchFamily="34" charset="0"/>
              </a:rPr>
              <a:t>compañías</a:t>
            </a:r>
            <a:r>
              <a:rPr lang="en-US" sz="1400" dirty="0" smtClean="0">
                <a:ea typeface="Verdana" panose="020B0604030504040204" pitchFamily="34" charset="0"/>
              </a:rPr>
              <a:t> </a:t>
            </a:r>
            <a:r>
              <a:rPr lang="en-US" sz="1400" dirty="0" err="1" smtClean="0">
                <a:ea typeface="Verdana" panose="020B0604030504040204" pitchFamily="34" charset="0"/>
              </a:rPr>
              <a:t>en</a:t>
            </a:r>
            <a:r>
              <a:rPr lang="en-US" sz="1400" dirty="0" smtClean="0">
                <a:ea typeface="Verdana" panose="020B0604030504040204" pitchFamily="34" charset="0"/>
              </a:rPr>
              <a:t> 57 </a:t>
            </a:r>
            <a:r>
              <a:rPr lang="en-US" sz="1400" dirty="0" err="1" smtClean="0">
                <a:ea typeface="Verdana" panose="020B0604030504040204" pitchFamily="34" charset="0"/>
              </a:rPr>
              <a:t>países</a:t>
            </a:r>
            <a:r>
              <a:rPr lang="en-US" sz="1400" dirty="0" smtClean="0">
                <a:ea typeface="Verdana" panose="020B0604030504040204" pitchFamily="34" charset="0"/>
              </a:rPr>
              <a:t> y </a:t>
            </a:r>
            <a:r>
              <a:rPr lang="es-VE" sz="1400" dirty="0" smtClean="0"/>
              <a:t>venden </a:t>
            </a:r>
            <a:r>
              <a:rPr lang="es-VE" sz="1400" dirty="0"/>
              <a:t>productos en más de 175 países alrededor del </a:t>
            </a:r>
            <a:r>
              <a:rPr lang="es-VE" sz="1400" dirty="0" smtClean="0"/>
              <a:t>mundo.</a:t>
            </a:r>
            <a:endParaRPr lang="en-US" sz="1400" b="1" dirty="0" smtClean="0">
              <a:ln w="22225">
                <a:solidFill>
                  <a:srgbClr val="FFFF00"/>
                </a:solidFill>
                <a:prstDash val="solid"/>
              </a:ln>
              <a:solidFill>
                <a:srgbClr val="DA291C"/>
              </a:solidFill>
              <a:ea typeface="Verdana" panose="020B0604030504040204" pitchFamily="34" charset="0"/>
            </a:endParaRPr>
          </a:p>
          <a:p>
            <a:pPr algn="just"/>
            <a:endParaRPr lang="es-VE" sz="1400" dirty="0" smtClean="0"/>
          </a:p>
          <a:p>
            <a:pPr algn="just"/>
            <a:r>
              <a:rPr lang="es-VE" sz="1400" b="1" dirty="0" smtClean="0">
                <a:solidFill>
                  <a:srgbClr val="86BC25"/>
                </a:solidFill>
              </a:rPr>
              <a:t>CREDO</a:t>
            </a:r>
          </a:p>
          <a:p>
            <a:pPr algn="just"/>
            <a:r>
              <a:rPr lang="en-US" sz="1400" dirty="0" err="1">
                <a:ea typeface="Verdana" panose="020B0604030504040204" pitchFamily="34" charset="0"/>
              </a:rPr>
              <a:t>Tienen</a:t>
            </a:r>
            <a:r>
              <a:rPr lang="en-US" sz="1400" dirty="0">
                <a:ea typeface="Verdana" panose="020B0604030504040204" pitchFamily="34" charset="0"/>
              </a:rPr>
              <a:t> </a:t>
            </a:r>
            <a:r>
              <a:rPr lang="es-VE" sz="1400" dirty="0"/>
              <a:t>el compromiso de atender las necesidades de sus consumidores y clientes de acuerdo con el Credo:</a:t>
            </a:r>
            <a:endParaRPr lang="en-US" sz="1400" dirty="0">
              <a:ea typeface="Verdana" panose="020B0604030504040204" pitchFamily="34" charset="0"/>
            </a:endParaRPr>
          </a:p>
          <a:p>
            <a:pPr algn="ctr"/>
            <a:r>
              <a:rPr lang="es-VE" sz="1400" i="1" dirty="0"/>
              <a:t>“Creemos que nuestra primera responsabilidad es con los médicos, odontólogos, enfermeras y pacientes, con las madres, padres y todos aquellos que usan nuestros productos y servicios. Para satisfacer sus necesidades, todo lo que hacemos debe ser de la más alta calidad”</a:t>
            </a:r>
            <a:endParaRPr lang="en-US" sz="1400" dirty="0">
              <a:ea typeface="Verdana" panose="020B0604030504040204" pitchFamily="34" charset="0"/>
            </a:endParaRPr>
          </a:p>
          <a:p>
            <a:pPr algn="just"/>
            <a:r>
              <a:rPr lang="es-VE" sz="1400" b="1" dirty="0" smtClean="0">
                <a:solidFill>
                  <a:srgbClr val="86BC25"/>
                </a:solidFill>
              </a:rPr>
              <a:t>VALORES</a:t>
            </a:r>
            <a:endParaRPr lang="es-VE" sz="1400" dirty="0" smtClean="0">
              <a:solidFill>
                <a:srgbClr val="86BC25"/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469901" y="736689"/>
            <a:ext cx="6866320" cy="378628"/>
          </a:xfrm>
        </p:spPr>
        <p:txBody>
          <a:bodyPr/>
          <a:lstStyle/>
          <a:p>
            <a:r>
              <a:rPr lang="en-US" sz="1800" dirty="0" smtClean="0"/>
              <a:t>Johnson &amp; Johnson de Venezuela</a:t>
            </a:r>
            <a:endParaRPr lang="en-US" sz="1800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ecedentes</a:t>
            </a:r>
            <a:endParaRPr lang="en-US" noProof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 Placeholder 5">
            <a:hlinkClick r:id="rId3" action="ppaction://hlinksldjump"/>
          </p:cNvPr>
          <p:cNvSpPr txBox="1">
            <a:spLocks/>
          </p:cNvSpPr>
          <p:nvPr/>
        </p:nvSpPr>
        <p:spPr>
          <a:xfrm>
            <a:off x="10267315" y="1716090"/>
            <a:ext cx="17691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tecedent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</p:txBody>
      </p:sp>
      <p:sp>
        <p:nvSpPr>
          <p:cNvPr id="22" name="Text Placeholder 5">
            <a:hlinkClick r:id="" action="ppaction://noaction"/>
          </p:cNvPr>
          <p:cNvSpPr txBox="1">
            <a:spLocks/>
          </p:cNvSpPr>
          <p:nvPr/>
        </p:nvSpPr>
        <p:spPr>
          <a:xfrm>
            <a:off x="10267316" y="2052096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estr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endimien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6" y="238810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foqu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odológic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78388" y="2681296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quipo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Plan d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baj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490563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canc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e la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891488"/>
            <a:ext cx="172466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orari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fesiona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413649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érmino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4747882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eptació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082115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ex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5416348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act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Text Placeholder 5">
            <a:hlinkClick r:id="rId4" action="ppaction://hlinksldjump"/>
          </p:cNvPr>
          <p:cNvSpPr txBox="1">
            <a:spLocks/>
          </p:cNvSpPr>
          <p:nvPr/>
        </p:nvSpPr>
        <p:spPr>
          <a:xfrm>
            <a:off x="10267315" y="3130197"/>
            <a:ext cx="17246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tabLst>
                <a:tab pos="6705432" algn="r"/>
              </a:tabLst>
              <a:defRPr lang="en-US"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6705432" algn="r"/>
              </a:tabLst>
              <a:defRPr lang="en-US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>
                <a:tab pos="6705432" algn="r"/>
              </a:tabLst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misa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y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BBBCB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dicion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BBBCB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9901" y="5081023"/>
            <a:ext cx="9180000" cy="576000"/>
          </a:xfrm>
          <a:prstGeom prst="rect">
            <a:avLst/>
          </a:prstGeom>
        </p:spPr>
        <p:txBody>
          <a:bodyPr wrap="square" numCol="3">
            <a:spAutoFit/>
          </a:bodyPr>
          <a:lstStyle/>
          <a:p>
            <a:pPr marL="285750" indent="-285750" algn="just">
              <a:buClr>
                <a:srgbClr val="86BC25"/>
              </a:buClr>
              <a:buFont typeface="Wingdings" panose="05000000000000000000" pitchFamily="2" charset="2"/>
              <a:buChar char="§"/>
            </a:pPr>
            <a:r>
              <a:rPr lang="es-VE" sz="1400" dirty="0"/>
              <a:t>Confiabilidad</a:t>
            </a:r>
          </a:p>
          <a:p>
            <a:pPr marL="285750" indent="-285750" algn="just">
              <a:buClr>
                <a:srgbClr val="86BC25"/>
              </a:buClr>
              <a:buFont typeface="Wingdings" panose="05000000000000000000" pitchFamily="2" charset="2"/>
              <a:buChar char="§"/>
            </a:pPr>
            <a:r>
              <a:rPr lang="es-VE" sz="1400" dirty="0"/>
              <a:t>Respeto</a:t>
            </a:r>
          </a:p>
          <a:p>
            <a:pPr marL="285750" indent="-285750" algn="just">
              <a:buClr>
                <a:srgbClr val="86BC25"/>
              </a:buClr>
              <a:buFont typeface="Wingdings" panose="05000000000000000000" pitchFamily="2" charset="2"/>
              <a:buChar char="§"/>
            </a:pPr>
            <a:r>
              <a:rPr lang="es-VE" sz="1400" dirty="0" smtClean="0"/>
              <a:t>Ciudadanía</a:t>
            </a:r>
          </a:p>
          <a:p>
            <a:pPr marL="285750" indent="-285750" algn="just">
              <a:buClr>
                <a:srgbClr val="86BC25"/>
              </a:buClr>
              <a:buFont typeface="Wingdings" panose="05000000000000000000" pitchFamily="2" charset="2"/>
              <a:buChar char="§"/>
            </a:pPr>
            <a:r>
              <a:rPr lang="es-VE" sz="1400" dirty="0" smtClean="0"/>
              <a:t>Ecuanimidad</a:t>
            </a:r>
          </a:p>
          <a:p>
            <a:pPr marL="285750" indent="-285750" algn="just">
              <a:buClr>
                <a:srgbClr val="86BC25"/>
              </a:buClr>
              <a:buFont typeface="Wingdings" panose="05000000000000000000" pitchFamily="2" charset="2"/>
              <a:buChar char="§"/>
            </a:pPr>
            <a:r>
              <a:rPr lang="es-VE" sz="1400" dirty="0" smtClean="0"/>
              <a:t>Cuidado</a:t>
            </a:r>
          </a:p>
          <a:p>
            <a:pPr marL="285750" indent="-285750" algn="just">
              <a:buClr>
                <a:srgbClr val="86BC25"/>
              </a:buClr>
              <a:buFont typeface="Wingdings" panose="05000000000000000000" pitchFamily="2" charset="2"/>
              <a:buChar char="§"/>
            </a:pPr>
            <a:r>
              <a:rPr lang="es-VE" sz="1400" dirty="0" smtClean="0"/>
              <a:t>Responsabilidad</a:t>
            </a:r>
            <a:endParaRPr lang="es-VE" sz="14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21" b="39862"/>
          <a:stretch/>
        </p:blipFill>
        <p:spPr>
          <a:xfrm>
            <a:off x="7181344" y="402587"/>
            <a:ext cx="2451607" cy="5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6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heme1" id="{A0E0EEAA-9453-40BB-871A-6D1E2EEBDF2A}" vid="{FDE2B663-A7D6-4842-9013-7DC8A8BB4F10}"/>
    </a:ext>
  </a:extLst>
</a:theme>
</file>

<file path=ppt/theme/theme2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3.xml><?xml version="1.0" encoding="utf-8"?>
<a:theme xmlns:a="http://schemas.openxmlformats.org/drawingml/2006/main" name="1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4.xml><?xml version="1.0" encoding="utf-8"?>
<a:theme xmlns:a="http://schemas.openxmlformats.org/drawingml/2006/main" name="2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_Deloitte</Template>
  <TotalTime>700</TotalTime>
  <Words>1726</Words>
  <Application>Microsoft Office PowerPoint</Application>
  <PresentationFormat>Widescreen</PresentationFormat>
  <Paragraphs>348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9" baseType="lpstr">
      <vt:lpstr>ＭＳ Ｐゴシック</vt:lpstr>
      <vt:lpstr>Arial</vt:lpstr>
      <vt:lpstr>Arial Unicode MS</vt:lpstr>
      <vt:lpstr>Calibri</vt:lpstr>
      <vt:lpstr>Open Sans</vt:lpstr>
      <vt:lpstr>Times New Roman</vt:lpstr>
      <vt:lpstr>Verdad</vt:lpstr>
      <vt:lpstr>Verdana</vt:lpstr>
      <vt:lpstr>Wingdings</vt:lpstr>
      <vt:lpstr>Wingdings 2</vt:lpstr>
      <vt:lpstr>Theme1</vt:lpstr>
      <vt:lpstr>2 Slides</vt:lpstr>
      <vt:lpstr>1_2 Slides</vt:lpstr>
      <vt:lpstr>2_2 Slides</vt:lpstr>
      <vt:lpstr>think-cell Slide</vt:lpstr>
      <vt:lpstr>PowerPoint Presentation</vt:lpstr>
      <vt:lpstr>PowerPoint Presentation</vt:lpstr>
      <vt:lpstr>Equipo y Plan de Trabajo</vt:lpstr>
      <vt:lpstr>PowerPoint Presentation</vt:lpstr>
      <vt:lpstr>Resumen Ejecutivo</vt:lpstr>
      <vt:lpstr>Enfoque Metodológico</vt:lpstr>
      <vt:lpstr>Equipo y Plan de Trabajo</vt:lpstr>
      <vt:lpstr>PowerPoint Presentation</vt:lpstr>
      <vt:lpstr>Antecedentes</vt:lpstr>
      <vt:lpstr>Antecedentes</vt:lpstr>
      <vt:lpstr>Nuestro Entendimiento</vt:lpstr>
      <vt:lpstr>PowerPoint Presentatio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ara, Jeison Leandro</dc:creator>
  <cp:lastModifiedBy>Amara, Jeison Leandro</cp:lastModifiedBy>
  <cp:revision>5</cp:revision>
  <dcterms:created xsi:type="dcterms:W3CDTF">2021-10-28T02:28:09Z</dcterms:created>
  <dcterms:modified xsi:type="dcterms:W3CDTF">2021-10-28T22:16:27Z</dcterms:modified>
</cp:coreProperties>
</file>